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4"/>
  </p:sldMasterIdLst>
  <p:notesMasterIdLst>
    <p:notesMasterId r:id="rId65"/>
  </p:notesMasterIdLst>
  <p:handoutMasterIdLst>
    <p:handoutMasterId r:id="rId66"/>
  </p:handoutMasterIdLst>
  <p:sldIdLst>
    <p:sldId id="434" r:id="rId5"/>
    <p:sldId id="435" r:id="rId6"/>
    <p:sldId id="436" r:id="rId7"/>
    <p:sldId id="437" r:id="rId8"/>
    <p:sldId id="494" r:id="rId9"/>
    <p:sldId id="480" r:id="rId10"/>
    <p:sldId id="502" r:id="rId11"/>
    <p:sldId id="503" r:id="rId12"/>
    <p:sldId id="504" r:id="rId13"/>
    <p:sldId id="505" r:id="rId14"/>
    <p:sldId id="506" r:id="rId15"/>
    <p:sldId id="495" r:id="rId16"/>
    <p:sldId id="481" r:id="rId17"/>
    <p:sldId id="482" r:id="rId18"/>
    <p:sldId id="461" r:id="rId19"/>
    <p:sldId id="462" r:id="rId20"/>
    <p:sldId id="507" r:id="rId21"/>
    <p:sldId id="483" r:id="rId22"/>
    <p:sldId id="508" r:id="rId23"/>
    <p:sldId id="509" r:id="rId24"/>
    <p:sldId id="484" r:id="rId25"/>
    <p:sldId id="485" r:id="rId26"/>
    <p:sldId id="486" r:id="rId27"/>
    <p:sldId id="510" r:id="rId28"/>
    <p:sldId id="487" r:id="rId29"/>
    <p:sldId id="488" r:id="rId30"/>
    <p:sldId id="403" r:id="rId31"/>
    <p:sldId id="496" r:id="rId32"/>
    <p:sldId id="489" r:id="rId33"/>
    <p:sldId id="497" r:id="rId34"/>
    <p:sldId id="498" r:id="rId35"/>
    <p:sldId id="499" r:id="rId36"/>
    <p:sldId id="500" r:id="rId37"/>
    <p:sldId id="390" r:id="rId38"/>
    <p:sldId id="391" r:id="rId39"/>
    <p:sldId id="392" r:id="rId40"/>
    <p:sldId id="393" r:id="rId41"/>
    <p:sldId id="490" r:id="rId42"/>
    <p:sldId id="491" r:id="rId43"/>
    <p:sldId id="637" r:id="rId44"/>
    <p:sldId id="607" r:id="rId45"/>
    <p:sldId id="371" r:id="rId46"/>
    <p:sldId id="442" r:id="rId47"/>
    <p:sldId id="606" r:id="rId48"/>
    <p:sldId id="608" r:id="rId49"/>
    <p:sldId id="584" r:id="rId50"/>
    <p:sldId id="611" r:id="rId51"/>
    <p:sldId id="612" r:id="rId52"/>
    <p:sldId id="617" r:id="rId53"/>
    <p:sldId id="618" r:id="rId54"/>
    <p:sldId id="619" r:id="rId55"/>
    <p:sldId id="620" r:id="rId56"/>
    <p:sldId id="643" r:id="rId57"/>
    <p:sldId id="644" r:id="rId58"/>
    <p:sldId id="622" r:id="rId59"/>
    <p:sldId id="492" r:id="rId60"/>
    <p:sldId id="477" r:id="rId61"/>
    <p:sldId id="493" r:id="rId62"/>
    <p:sldId id="408" r:id="rId63"/>
    <p:sldId id="410" r:id="rId64"/>
  </p:sldIdLst>
  <p:sldSz cx="12192000" cy="6858000"/>
  <p:notesSz cx="6797675" cy="9926638"/>
  <p:custDataLst>
    <p:tags r:id="rId6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7446" userDrawn="1">
          <p15:clr>
            <a:srgbClr val="A4A3A4"/>
          </p15:clr>
        </p15:guide>
        <p15:guide id="6" pos="1753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759E"/>
    <a:srgbClr val="3DBFA1"/>
    <a:srgbClr val="009AC7"/>
    <a:srgbClr val="326273"/>
    <a:srgbClr val="E39774"/>
    <a:srgbClr val="04BFC8"/>
    <a:srgbClr val="2E74A8"/>
    <a:srgbClr val="AAD6EC"/>
    <a:srgbClr val="75BDE1"/>
    <a:srgbClr val="2889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03ED68-73EC-469B-BE1E-4C33A6C93B44}" v="146" dt="2019-01-14T17:01:33.691"/>
    <p1510:client id="{38417720-6A28-403C-B695-E8AAE50D2661}" v="8" dt="2019-01-14T18:55:18.173"/>
    <p1510:client id="{03BAC810-63E0-4C75-BF4A-C0ADA27640DD}" v="7" dt="2019-01-15T09:58:29.6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7446"/>
        <p:guide pos="1753"/>
        <p:guide pos="3840"/>
        <p:guide orient="horz" pos="216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notesMaster" Target="notesMasters/notesMaster1.xml"/><Relationship Id="rId73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71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UVAN, Julien" userId="6e0e278e-5964-4c9d-b33f-6a7cf7de2f5c" providerId="ADAL" clId="{38417720-6A28-403C-B695-E8AAE50D2661}"/>
    <pc:docChg chg="custSel addSld delSld modSld">
      <pc:chgData name="SAUVAN, Julien" userId="6e0e278e-5964-4c9d-b33f-6a7cf7de2f5c" providerId="ADAL" clId="{38417720-6A28-403C-B695-E8AAE50D2661}" dt="2019-01-15T09:52:31.227" v="574" actId="20577"/>
      <pc:docMkLst>
        <pc:docMk/>
      </pc:docMkLst>
      <pc:sldChg chg="del">
        <pc:chgData name="SAUVAN, Julien" userId="6e0e278e-5964-4c9d-b33f-6a7cf7de2f5c" providerId="ADAL" clId="{38417720-6A28-403C-B695-E8AAE50D2661}" dt="2019-01-14T18:49:51.516" v="41" actId="2696"/>
        <pc:sldMkLst>
          <pc:docMk/>
          <pc:sldMk cId="1744004983" sldId="369"/>
        </pc:sldMkLst>
      </pc:sldChg>
      <pc:sldChg chg="del">
        <pc:chgData name="SAUVAN, Julien" userId="6e0e278e-5964-4c9d-b33f-6a7cf7de2f5c" providerId="ADAL" clId="{38417720-6A28-403C-B695-E8AAE50D2661}" dt="2019-01-14T18:49:51.529" v="42" actId="2696"/>
        <pc:sldMkLst>
          <pc:docMk/>
          <pc:sldMk cId="2460474242" sldId="370"/>
        </pc:sldMkLst>
      </pc:sldChg>
      <pc:sldChg chg="add del">
        <pc:chgData name="SAUVAN, Julien" userId="6e0e278e-5964-4c9d-b33f-6a7cf7de2f5c" providerId="ADAL" clId="{38417720-6A28-403C-B695-E8AAE50D2661}" dt="2019-01-14T18:50:24.032" v="47"/>
        <pc:sldMkLst>
          <pc:docMk/>
          <pc:sldMk cId="1159472178" sldId="371"/>
        </pc:sldMkLst>
      </pc:sldChg>
      <pc:sldChg chg="add del">
        <pc:chgData name="SAUVAN, Julien" userId="6e0e278e-5964-4c9d-b33f-6a7cf7de2f5c" providerId="ADAL" clId="{38417720-6A28-403C-B695-E8AAE50D2661}" dt="2019-01-14T18:50:24.032" v="47"/>
        <pc:sldMkLst>
          <pc:docMk/>
          <pc:sldMk cId="2638320471" sldId="408"/>
        </pc:sldMkLst>
      </pc:sldChg>
      <pc:sldChg chg="addSp delSp modSp">
        <pc:chgData name="SAUVAN, Julien" userId="6e0e278e-5964-4c9d-b33f-6a7cf7de2f5c" providerId="ADAL" clId="{38417720-6A28-403C-B695-E8AAE50D2661}" dt="2019-01-14T18:47:25.888" v="36"/>
        <pc:sldMkLst>
          <pc:docMk/>
          <pc:sldMk cId="1288471996" sldId="436"/>
        </pc:sldMkLst>
        <pc:spChg chg="mod">
          <ac:chgData name="SAUVAN, Julien" userId="6e0e278e-5964-4c9d-b33f-6a7cf7de2f5c" providerId="ADAL" clId="{38417720-6A28-403C-B695-E8AAE50D2661}" dt="2019-01-14T18:47:11.214" v="34" actId="20577"/>
          <ac:spMkLst>
            <pc:docMk/>
            <pc:sldMk cId="1288471996" sldId="436"/>
            <ac:spMk id="36" creationId="{00000000-0000-0000-0000-000000000000}"/>
          </ac:spMkLst>
        </pc:spChg>
        <pc:picChg chg="add">
          <ac:chgData name="SAUVAN, Julien" userId="6e0e278e-5964-4c9d-b33f-6a7cf7de2f5c" providerId="ADAL" clId="{38417720-6A28-403C-B695-E8AAE50D2661}" dt="2019-01-14T18:47:25.888" v="36"/>
          <ac:picMkLst>
            <pc:docMk/>
            <pc:sldMk cId="1288471996" sldId="436"/>
            <ac:picMk id="9" creationId="{65E3D77B-9151-4F3A-9086-98DC932960F0}"/>
          </ac:picMkLst>
        </pc:picChg>
        <pc:picChg chg="add">
          <ac:chgData name="SAUVAN, Julien" userId="6e0e278e-5964-4c9d-b33f-6a7cf7de2f5c" providerId="ADAL" clId="{38417720-6A28-403C-B695-E8AAE50D2661}" dt="2019-01-14T18:47:25.888" v="36"/>
          <ac:picMkLst>
            <pc:docMk/>
            <pc:sldMk cId="1288471996" sldId="436"/>
            <ac:picMk id="10" creationId="{7A940494-2036-4513-835E-8D5395029ED8}"/>
          </ac:picMkLst>
        </pc:picChg>
        <pc:picChg chg="del">
          <ac:chgData name="SAUVAN, Julien" userId="6e0e278e-5964-4c9d-b33f-6a7cf7de2f5c" providerId="ADAL" clId="{38417720-6A28-403C-B695-E8AAE50D2661}" dt="2019-01-14T18:47:25.476" v="35" actId="478"/>
          <ac:picMkLst>
            <pc:docMk/>
            <pc:sldMk cId="1288471996" sldId="436"/>
            <ac:picMk id="16" creationId="{00000000-0000-0000-0000-000000000000}"/>
          </ac:picMkLst>
        </pc:picChg>
      </pc:sldChg>
      <pc:sldChg chg="add del">
        <pc:chgData name="SAUVAN, Julien" userId="6e0e278e-5964-4c9d-b33f-6a7cf7de2f5c" providerId="ADAL" clId="{38417720-6A28-403C-B695-E8AAE50D2661}" dt="2019-01-14T18:50:24.032" v="47"/>
        <pc:sldMkLst>
          <pc:docMk/>
          <pc:sldMk cId="2133061700" sldId="442"/>
        </pc:sldMkLst>
      </pc:sldChg>
      <pc:sldChg chg="addSp delSp modSp add del">
        <pc:chgData name="SAUVAN, Julien" userId="6e0e278e-5964-4c9d-b33f-6a7cf7de2f5c" providerId="ADAL" clId="{38417720-6A28-403C-B695-E8AAE50D2661}" dt="2019-01-14T18:57:10.936" v="564" actId="20577"/>
        <pc:sldMkLst>
          <pc:docMk/>
          <pc:sldMk cId="2325628586" sldId="477"/>
        </pc:sldMkLst>
        <pc:spChg chg="del">
          <ac:chgData name="SAUVAN, Julien" userId="6e0e278e-5964-4c9d-b33f-6a7cf7de2f5c" providerId="ADAL" clId="{38417720-6A28-403C-B695-E8AAE50D2661}" dt="2019-01-14T18:54:24.868" v="304" actId="478"/>
          <ac:spMkLst>
            <pc:docMk/>
            <pc:sldMk cId="2325628586" sldId="477"/>
            <ac:spMk id="12" creationId="{D27F47B1-8BE5-4AAF-953E-A967246D80D5}"/>
          </ac:spMkLst>
        </pc:spChg>
        <pc:spChg chg="del mod">
          <ac:chgData name="SAUVAN, Julien" userId="6e0e278e-5964-4c9d-b33f-6a7cf7de2f5c" providerId="ADAL" clId="{38417720-6A28-403C-B695-E8AAE50D2661}" dt="2019-01-14T18:52:17.375" v="58" actId="478"/>
          <ac:spMkLst>
            <pc:docMk/>
            <pc:sldMk cId="2325628586" sldId="477"/>
            <ac:spMk id="14" creationId="{00000000-0000-0000-0000-000000000000}"/>
          </ac:spMkLst>
        </pc:spChg>
        <pc:spChg chg="del mod">
          <ac:chgData name="SAUVAN, Julien" userId="6e0e278e-5964-4c9d-b33f-6a7cf7de2f5c" providerId="ADAL" clId="{38417720-6A28-403C-B695-E8AAE50D2661}" dt="2019-01-14T18:52:51.356" v="122" actId="478"/>
          <ac:spMkLst>
            <pc:docMk/>
            <pc:sldMk cId="2325628586" sldId="477"/>
            <ac:spMk id="16" creationId="{00000000-0000-0000-0000-000000000000}"/>
          </ac:spMkLst>
        </pc:spChg>
        <pc:spChg chg="add mod">
          <ac:chgData name="SAUVAN, Julien" userId="6e0e278e-5964-4c9d-b33f-6a7cf7de2f5c" providerId="ADAL" clId="{38417720-6A28-403C-B695-E8AAE50D2661}" dt="2019-01-14T18:52:31.678" v="87" actId="20577"/>
          <ac:spMkLst>
            <pc:docMk/>
            <pc:sldMk cId="2325628586" sldId="477"/>
            <ac:spMk id="20" creationId="{440B23BF-C8C9-4E48-AEDA-FFA0FA79543E}"/>
          </ac:spMkLst>
        </pc:spChg>
        <pc:spChg chg="add mod">
          <ac:chgData name="SAUVAN, Julien" userId="6e0e278e-5964-4c9d-b33f-6a7cf7de2f5c" providerId="ADAL" clId="{38417720-6A28-403C-B695-E8AAE50D2661}" dt="2019-01-14T18:57:10.936" v="564" actId="20577"/>
          <ac:spMkLst>
            <pc:docMk/>
            <pc:sldMk cId="2325628586" sldId="477"/>
            <ac:spMk id="21" creationId="{69561F45-28A9-47E4-9D52-AC7AA952C9C6}"/>
          </ac:spMkLst>
        </pc:spChg>
        <pc:picChg chg="add mod">
          <ac:chgData name="SAUVAN, Julien" userId="6e0e278e-5964-4c9d-b33f-6a7cf7de2f5c" providerId="ADAL" clId="{38417720-6A28-403C-B695-E8AAE50D2661}" dt="2019-01-14T18:52:02.923" v="55" actId="1076"/>
          <ac:picMkLst>
            <pc:docMk/>
            <pc:sldMk cId="2325628586" sldId="477"/>
            <ac:picMk id="13" creationId="{F1F1B775-FA2B-4307-8D01-3C2CBC682521}"/>
          </ac:picMkLst>
        </pc:picChg>
        <pc:picChg chg="add mod">
          <ac:chgData name="SAUVAN, Julien" userId="6e0e278e-5964-4c9d-b33f-6a7cf7de2f5c" providerId="ADAL" clId="{38417720-6A28-403C-B695-E8AAE50D2661}" dt="2019-01-14T18:52:02.923" v="55" actId="1076"/>
          <ac:picMkLst>
            <pc:docMk/>
            <pc:sldMk cId="2325628586" sldId="477"/>
            <ac:picMk id="18" creationId="{CE99612D-0529-48D0-9F6F-2E3D9466449E}"/>
          </ac:picMkLst>
        </pc:picChg>
        <pc:picChg chg="del">
          <ac:chgData name="SAUVAN, Julien" userId="6e0e278e-5964-4c9d-b33f-6a7cf7de2f5c" providerId="ADAL" clId="{38417720-6A28-403C-B695-E8AAE50D2661}" dt="2019-01-14T18:51:42.139" v="48" actId="478"/>
          <ac:picMkLst>
            <pc:docMk/>
            <pc:sldMk cId="2325628586" sldId="477"/>
            <ac:picMk id="19" creationId="{00000000-0000-0000-0000-000000000000}"/>
          </ac:picMkLst>
        </pc:picChg>
      </pc:sldChg>
      <pc:sldChg chg="del">
        <pc:chgData name="SAUVAN, Julien" userId="6e0e278e-5964-4c9d-b33f-6a7cf7de2f5c" providerId="ADAL" clId="{38417720-6A28-403C-B695-E8AAE50D2661}" dt="2019-01-14T18:47:31.856" v="37" actId="2696"/>
        <pc:sldMkLst>
          <pc:docMk/>
          <pc:sldMk cId="892590080" sldId="479"/>
        </pc:sldMkLst>
      </pc:sldChg>
      <pc:sldChg chg="modSp">
        <pc:chgData name="SAUVAN, Julien" userId="6e0e278e-5964-4c9d-b33f-6a7cf7de2f5c" providerId="ADAL" clId="{38417720-6A28-403C-B695-E8AAE50D2661}" dt="2019-01-15T09:50:09.557" v="567" actId="20577"/>
        <pc:sldMkLst>
          <pc:docMk/>
          <pc:sldMk cId="2910774406" sldId="486"/>
        </pc:sldMkLst>
        <pc:spChg chg="mod">
          <ac:chgData name="SAUVAN, Julien" userId="6e0e278e-5964-4c9d-b33f-6a7cf7de2f5c" providerId="ADAL" clId="{38417720-6A28-403C-B695-E8AAE50D2661}" dt="2019-01-15T09:50:09.557" v="567" actId="20577"/>
          <ac:spMkLst>
            <pc:docMk/>
            <pc:sldMk cId="2910774406" sldId="486"/>
            <ac:spMk id="2" creationId="{14C13C34-53C4-47DE-BD73-C6C4DBAE15BE}"/>
          </ac:spMkLst>
        </pc:spChg>
      </pc:sldChg>
      <pc:sldChg chg="add del">
        <pc:chgData name="SAUVAN, Julien" userId="6e0e278e-5964-4c9d-b33f-6a7cf7de2f5c" providerId="ADAL" clId="{38417720-6A28-403C-B695-E8AAE50D2661}" dt="2019-01-14T18:50:24.032" v="47"/>
        <pc:sldMkLst>
          <pc:docMk/>
          <pc:sldMk cId="1416837816" sldId="491"/>
        </pc:sldMkLst>
      </pc:sldChg>
      <pc:sldChg chg="add del">
        <pc:chgData name="SAUVAN, Julien" userId="6e0e278e-5964-4c9d-b33f-6a7cf7de2f5c" providerId="ADAL" clId="{38417720-6A28-403C-B695-E8AAE50D2661}" dt="2019-01-14T18:50:24.032" v="47"/>
        <pc:sldMkLst>
          <pc:docMk/>
          <pc:sldMk cId="2177362206" sldId="492"/>
        </pc:sldMkLst>
      </pc:sldChg>
      <pc:sldChg chg="add del">
        <pc:chgData name="SAUVAN, Julien" userId="6e0e278e-5964-4c9d-b33f-6a7cf7de2f5c" providerId="ADAL" clId="{38417720-6A28-403C-B695-E8AAE50D2661}" dt="2019-01-14T18:50:24.032" v="47"/>
        <pc:sldMkLst>
          <pc:docMk/>
          <pc:sldMk cId="3238857712" sldId="493"/>
        </pc:sldMkLst>
      </pc:sldChg>
      <pc:sldChg chg="modSp">
        <pc:chgData name="SAUVAN, Julien" userId="6e0e278e-5964-4c9d-b33f-6a7cf7de2f5c" providerId="ADAL" clId="{38417720-6A28-403C-B695-E8AAE50D2661}" dt="2019-01-15T09:52:31.227" v="574" actId="20577"/>
        <pc:sldMkLst>
          <pc:docMk/>
          <pc:sldMk cId="4232323271" sldId="499"/>
        </pc:sldMkLst>
        <pc:spChg chg="mod">
          <ac:chgData name="SAUVAN, Julien" userId="6e0e278e-5964-4c9d-b33f-6a7cf7de2f5c" providerId="ADAL" clId="{38417720-6A28-403C-B695-E8AAE50D2661}" dt="2019-01-15T09:52:31.227" v="574" actId="20577"/>
          <ac:spMkLst>
            <pc:docMk/>
            <pc:sldMk cId="4232323271" sldId="499"/>
            <ac:spMk id="24" creationId="{D3CC6A29-6A8B-480A-90B6-52211E0DA2E1}"/>
          </ac:spMkLst>
        </pc:spChg>
      </pc:sldChg>
      <pc:sldChg chg="modSp">
        <pc:chgData name="SAUVAN, Julien" userId="6e0e278e-5964-4c9d-b33f-6a7cf7de2f5c" providerId="ADAL" clId="{38417720-6A28-403C-B695-E8AAE50D2661}" dt="2019-01-15T09:50:14.922" v="568" actId="20577"/>
        <pc:sldMkLst>
          <pc:docMk/>
          <pc:sldMk cId="2574899410" sldId="510"/>
        </pc:sldMkLst>
        <pc:spChg chg="mod">
          <ac:chgData name="SAUVAN, Julien" userId="6e0e278e-5964-4c9d-b33f-6a7cf7de2f5c" providerId="ADAL" clId="{38417720-6A28-403C-B695-E8AAE50D2661}" dt="2019-01-15T09:50:14.922" v="568" actId="20577"/>
          <ac:spMkLst>
            <pc:docMk/>
            <pc:sldMk cId="2574899410" sldId="510"/>
            <ac:spMk id="3" creationId="{537A31C0-B6AB-487A-A6D4-CAED19AF3BB2}"/>
          </ac:spMkLst>
        </pc:spChg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2298143561" sldId="584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3270817531" sldId="606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423613056" sldId="607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415660013" sldId="608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4107750013" sldId="611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3437933313" sldId="612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3284857217" sldId="617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3301957153" sldId="618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2328146522" sldId="619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4007091265" sldId="620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2730081907" sldId="622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3044756431" sldId="637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2942044929" sldId="643"/>
        </pc:sldMkLst>
      </pc:sldChg>
      <pc:sldChg chg="add">
        <pc:chgData name="SAUVAN, Julien" userId="6e0e278e-5964-4c9d-b33f-6a7cf7de2f5c" providerId="ADAL" clId="{38417720-6A28-403C-B695-E8AAE50D2661}" dt="2019-01-14T18:50:24.032" v="47"/>
        <pc:sldMkLst>
          <pc:docMk/>
          <pc:sldMk cId="876257765" sldId="644"/>
        </pc:sldMkLst>
      </pc:sldChg>
    </pc:docChg>
  </pc:docChgLst>
  <pc:docChgLst>
    <pc:chgData name="SAUVAN, Julien" userId="6e0e278e-5964-4c9d-b33f-6a7cf7de2f5c" providerId="ADAL" clId="{5603ED68-73EC-469B-BE1E-4C33A6C93B44}"/>
    <pc:docChg chg="undo custSel addSld delSld modSld sldOrd">
      <pc:chgData name="SAUVAN, Julien" userId="6e0e278e-5964-4c9d-b33f-6a7cf7de2f5c" providerId="ADAL" clId="{5603ED68-73EC-469B-BE1E-4C33A6C93B44}" dt="2019-01-14T17:09:33.669" v="6578" actId="2696"/>
      <pc:docMkLst>
        <pc:docMk/>
      </pc:docMkLst>
      <pc:sldChg chg="delSp del">
        <pc:chgData name="SAUVAN, Julien" userId="6e0e278e-5964-4c9d-b33f-6a7cf7de2f5c" providerId="ADAL" clId="{5603ED68-73EC-469B-BE1E-4C33A6C93B44}" dt="2019-01-14T12:34:08.711" v="6562" actId="2696"/>
        <pc:sldMkLst>
          <pc:docMk/>
          <pc:sldMk cId="3183845508" sldId="394"/>
        </pc:sldMkLst>
        <pc:spChg chg="del">
          <ac:chgData name="SAUVAN, Julien" userId="6e0e278e-5964-4c9d-b33f-6a7cf7de2f5c" providerId="ADAL" clId="{5603ED68-73EC-469B-BE1E-4C33A6C93B44}" dt="2019-01-14T10:47:18.012" v="6558" actId="478"/>
          <ac:spMkLst>
            <pc:docMk/>
            <pc:sldMk cId="3183845508" sldId="394"/>
            <ac:spMk id="3" creationId="{00000000-0000-0000-0000-000000000000}"/>
          </ac:spMkLst>
        </pc:spChg>
        <pc:picChg chg="del">
          <ac:chgData name="SAUVAN, Julien" userId="6e0e278e-5964-4c9d-b33f-6a7cf7de2f5c" providerId="ADAL" clId="{5603ED68-73EC-469B-BE1E-4C33A6C93B44}" dt="2019-01-14T10:47:14.954" v="6556" actId="478"/>
          <ac:picMkLst>
            <pc:docMk/>
            <pc:sldMk cId="3183845508" sldId="394"/>
            <ac:picMk id="35" creationId="{00000000-0000-0000-0000-000000000000}"/>
          </ac:picMkLst>
        </pc:picChg>
        <pc:picChg chg="del">
          <ac:chgData name="SAUVAN, Julien" userId="6e0e278e-5964-4c9d-b33f-6a7cf7de2f5c" providerId="ADAL" clId="{5603ED68-73EC-469B-BE1E-4C33A6C93B44}" dt="2019-01-14T10:47:16.607" v="6557" actId="478"/>
          <ac:picMkLst>
            <pc:docMk/>
            <pc:sldMk cId="3183845508" sldId="394"/>
            <ac:picMk id="36" creationId="{00000000-0000-0000-0000-000000000000}"/>
          </ac:picMkLst>
        </pc:picChg>
      </pc:sldChg>
      <pc:sldChg chg="delSp del">
        <pc:chgData name="SAUVAN, Julien" userId="6e0e278e-5964-4c9d-b33f-6a7cf7de2f5c" providerId="ADAL" clId="{5603ED68-73EC-469B-BE1E-4C33A6C93B44}" dt="2019-01-14T12:34:08.737" v="6563" actId="2696"/>
        <pc:sldMkLst>
          <pc:docMk/>
          <pc:sldMk cId="1969268744" sldId="395"/>
        </pc:sldMkLst>
        <pc:picChg chg="del">
          <ac:chgData name="SAUVAN, Julien" userId="6e0e278e-5964-4c9d-b33f-6a7cf7de2f5c" providerId="ADAL" clId="{5603ED68-73EC-469B-BE1E-4C33A6C93B44}" dt="2019-01-14T10:53:38.208" v="6560" actId="478"/>
          <ac:picMkLst>
            <pc:docMk/>
            <pc:sldMk cId="1969268744" sldId="395"/>
            <ac:picMk id="13" creationId="{00000000-0000-0000-0000-000000000000}"/>
          </ac:picMkLst>
        </pc:picChg>
        <pc:picChg chg="del">
          <ac:chgData name="SAUVAN, Julien" userId="6e0e278e-5964-4c9d-b33f-6a7cf7de2f5c" providerId="ADAL" clId="{5603ED68-73EC-469B-BE1E-4C33A6C93B44}" dt="2019-01-14T10:53:36.842" v="6559" actId="478"/>
          <ac:picMkLst>
            <pc:docMk/>
            <pc:sldMk cId="1969268744" sldId="395"/>
            <ac:picMk id="35" creationId="{00000000-0000-0000-0000-000000000000}"/>
          </ac:picMkLst>
        </pc:picChg>
      </pc:sldChg>
      <pc:sldChg chg="del">
        <pc:chgData name="SAUVAN, Julien" userId="6e0e278e-5964-4c9d-b33f-6a7cf7de2f5c" providerId="ADAL" clId="{5603ED68-73EC-469B-BE1E-4C33A6C93B44}" dt="2019-01-14T12:34:08.760" v="6564" actId="2696"/>
        <pc:sldMkLst>
          <pc:docMk/>
          <pc:sldMk cId="3831324254" sldId="396"/>
        </pc:sldMkLst>
      </pc:sldChg>
      <pc:sldChg chg="del">
        <pc:chgData name="SAUVAN, Julien" userId="6e0e278e-5964-4c9d-b33f-6a7cf7de2f5c" providerId="ADAL" clId="{5603ED68-73EC-469B-BE1E-4C33A6C93B44}" dt="2019-01-14T12:34:08.788" v="6565" actId="2696"/>
        <pc:sldMkLst>
          <pc:docMk/>
          <pc:sldMk cId="1467753228" sldId="397"/>
        </pc:sldMkLst>
      </pc:sldChg>
      <pc:sldChg chg="modSp">
        <pc:chgData name="SAUVAN, Julien" userId="6e0e278e-5964-4c9d-b33f-6a7cf7de2f5c" providerId="ADAL" clId="{5603ED68-73EC-469B-BE1E-4C33A6C93B44}" dt="2019-01-12T18:11:46.346" v="6551" actId="20577"/>
        <pc:sldMkLst>
          <pc:docMk/>
          <pc:sldMk cId="3780399065" sldId="403"/>
        </pc:sldMkLst>
        <pc:spChg chg="mod">
          <ac:chgData name="SAUVAN, Julien" userId="6e0e278e-5964-4c9d-b33f-6a7cf7de2f5c" providerId="ADAL" clId="{5603ED68-73EC-469B-BE1E-4C33A6C93B44}" dt="2019-01-12T18:11:46.346" v="6551" actId="20577"/>
          <ac:spMkLst>
            <pc:docMk/>
            <pc:sldMk cId="3780399065" sldId="403"/>
            <ac:spMk id="5" creationId="{00000000-0000-0000-0000-000000000000}"/>
          </ac:spMkLst>
        </pc:spChg>
      </pc:sldChg>
      <pc:sldChg chg="addSp modSp del">
        <pc:chgData name="SAUVAN, Julien" userId="6e0e278e-5964-4c9d-b33f-6a7cf7de2f5c" providerId="ADAL" clId="{5603ED68-73EC-469B-BE1E-4C33A6C93B44}" dt="2019-01-14T17:09:33.556" v="6573" actId="2696"/>
        <pc:sldMkLst>
          <pc:docMk/>
          <pc:sldMk cId="1798742255" sldId="417"/>
        </pc:sldMkLst>
        <pc:spChg chg="mod">
          <ac:chgData name="SAUVAN, Julien" userId="6e0e278e-5964-4c9d-b33f-6a7cf7de2f5c" providerId="ADAL" clId="{5603ED68-73EC-469B-BE1E-4C33A6C93B44}" dt="2019-01-14T12:35:18.735" v="6571" actId="20577"/>
          <ac:spMkLst>
            <pc:docMk/>
            <pc:sldMk cId="1798742255" sldId="417"/>
            <ac:spMk id="12" creationId="{14CFB901-C779-4369-956B-322238C9B812}"/>
          </ac:spMkLst>
        </pc:spChg>
        <pc:picChg chg="add mod">
          <ac:chgData name="SAUVAN, Julien" userId="6e0e278e-5964-4c9d-b33f-6a7cf7de2f5c" providerId="ADAL" clId="{5603ED68-73EC-469B-BE1E-4C33A6C93B44}" dt="2019-01-14T10:44:18.714" v="6554" actId="1076"/>
          <ac:picMkLst>
            <pc:docMk/>
            <pc:sldMk cId="1798742255" sldId="417"/>
            <ac:picMk id="6" creationId="{2FF03E76-57CC-4C9F-89A6-6D3B6C5D6C1B}"/>
          </ac:picMkLst>
        </pc:picChg>
      </pc:sldChg>
      <pc:sldChg chg="del">
        <pc:chgData name="SAUVAN, Julien" userId="6e0e278e-5964-4c9d-b33f-6a7cf7de2f5c" providerId="ADAL" clId="{5603ED68-73EC-469B-BE1E-4C33A6C93B44}" dt="2019-01-14T17:09:33.575" v="6574" actId="2696"/>
        <pc:sldMkLst>
          <pc:docMk/>
          <pc:sldMk cId="748715792" sldId="418"/>
        </pc:sldMkLst>
      </pc:sldChg>
      <pc:sldChg chg="del">
        <pc:chgData name="SAUVAN, Julien" userId="6e0e278e-5964-4c9d-b33f-6a7cf7de2f5c" providerId="ADAL" clId="{5603ED68-73EC-469B-BE1E-4C33A6C93B44}" dt="2019-01-14T17:09:33.594" v="6575" actId="2696"/>
        <pc:sldMkLst>
          <pc:docMk/>
          <pc:sldMk cId="4084682323" sldId="419"/>
        </pc:sldMkLst>
      </pc:sldChg>
      <pc:sldChg chg="del">
        <pc:chgData name="SAUVAN, Julien" userId="6e0e278e-5964-4c9d-b33f-6a7cf7de2f5c" providerId="ADAL" clId="{5603ED68-73EC-469B-BE1E-4C33A6C93B44}" dt="2019-01-14T17:09:33.616" v="6576" actId="2696"/>
        <pc:sldMkLst>
          <pc:docMk/>
          <pc:sldMk cId="2463848106" sldId="420"/>
        </pc:sldMkLst>
      </pc:sldChg>
      <pc:sldChg chg="del">
        <pc:chgData name="SAUVAN, Julien" userId="6e0e278e-5964-4c9d-b33f-6a7cf7de2f5c" providerId="ADAL" clId="{5603ED68-73EC-469B-BE1E-4C33A6C93B44}" dt="2019-01-14T17:09:33.641" v="6577" actId="2696"/>
        <pc:sldMkLst>
          <pc:docMk/>
          <pc:sldMk cId="2162991234" sldId="421"/>
        </pc:sldMkLst>
      </pc:sldChg>
      <pc:sldChg chg="del">
        <pc:chgData name="SAUVAN, Julien" userId="6e0e278e-5964-4c9d-b33f-6a7cf7de2f5c" providerId="ADAL" clId="{5603ED68-73EC-469B-BE1E-4C33A6C93B44}" dt="2019-01-14T17:09:33.669" v="6578" actId="2696"/>
        <pc:sldMkLst>
          <pc:docMk/>
          <pc:sldMk cId="102206565" sldId="422"/>
        </pc:sldMkLst>
      </pc:sldChg>
      <pc:sldChg chg="del">
        <pc:chgData name="SAUVAN, Julien" userId="6e0e278e-5964-4c9d-b33f-6a7cf7de2f5c" providerId="ADAL" clId="{5603ED68-73EC-469B-BE1E-4C33A6C93B44}" dt="2019-01-14T12:34:08.687" v="6561" actId="2696"/>
        <pc:sldMkLst>
          <pc:docMk/>
          <pc:sldMk cId="428627910" sldId="423"/>
        </pc:sldMkLst>
      </pc:sldChg>
      <pc:sldChg chg="ord">
        <pc:chgData name="SAUVAN, Julien" userId="6e0e278e-5964-4c9d-b33f-6a7cf7de2f5c" providerId="ADAL" clId="{5603ED68-73EC-469B-BE1E-4C33A6C93B44}" dt="2019-01-14T17:01:33.690" v="6572"/>
        <pc:sldMkLst>
          <pc:docMk/>
          <pc:sldMk cId="892590080" sldId="479"/>
        </pc:sldMkLst>
      </pc:sldChg>
      <pc:sldChg chg="addSp modSp">
        <pc:chgData name="SAUVAN, Julien" userId="6e0e278e-5964-4c9d-b33f-6a7cf7de2f5c" providerId="ADAL" clId="{5603ED68-73EC-469B-BE1E-4C33A6C93B44}" dt="2019-01-11T09:12:48.032" v="662" actId="20577"/>
        <pc:sldMkLst>
          <pc:docMk/>
          <pc:sldMk cId="3239501341" sldId="480"/>
        </pc:sldMkLst>
        <pc:spChg chg="add mod">
          <ac:chgData name="SAUVAN, Julien" userId="6e0e278e-5964-4c9d-b33f-6a7cf7de2f5c" providerId="ADAL" clId="{5603ED68-73EC-469B-BE1E-4C33A6C93B44}" dt="2019-01-11T09:09:06.322" v="447" actId="113"/>
          <ac:spMkLst>
            <pc:docMk/>
            <pc:sldMk cId="3239501341" sldId="480"/>
            <ac:spMk id="2" creationId="{C3CD5A5B-4330-4AF1-99A8-67C0BF24594B}"/>
          </ac:spMkLst>
        </pc:spChg>
        <pc:spChg chg="mod">
          <ac:chgData name="SAUVAN, Julien" userId="6e0e278e-5964-4c9d-b33f-6a7cf7de2f5c" providerId="ADAL" clId="{5603ED68-73EC-469B-BE1E-4C33A6C93B44}" dt="2019-01-10T15:10:35.549" v="272" actId="20577"/>
          <ac:spMkLst>
            <pc:docMk/>
            <pc:sldMk cId="3239501341" sldId="480"/>
            <ac:spMk id="4" creationId="{A91635E3-F78F-4A55-A715-6B1D7AF40466}"/>
          </ac:spMkLst>
        </pc:spChg>
        <pc:spChg chg="add mod">
          <ac:chgData name="SAUVAN, Julien" userId="6e0e278e-5964-4c9d-b33f-6a7cf7de2f5c" providerId="ADAL" clId="{5603ED68-73EC-469B-BE1E-4C33A6C93B44}" dt="2019-01-11T09:12:48.032" v="662" actId="20577"/>
          <ac:spMkLst>
            <pc:docMk/>
            <pc:sldMk cId="3239501341" sldId="480"/>
            <ac:spMk id="6" creationId="{AD1C2582-9144-4F0F-82AF-DF3166965C2E}"/>
          </ac:spMkLst>
        </pc:spChg>
        <pc:picChg chg="add mod">
          <ac:chgData name="SAUVAN, Julien" userId="6e0e278e-5964-4c9d-b33f-6a7cf7de2f5c" providerId="ADAL" clId="{5603ED68-73EC-469B-BE1E-4C33A6C93B44}" dt="2019-01-10T15:06:42.312" v="245" actId="1076"/>
          <ac:picMkLst>
            <pc:docMk/>
            <pc:sldMk cId="3239501341" sldId="480"/>
            <ac:picMk id="3" creationId="{DB720613-0933-4FE7-99A7-D2478C9E96CA}"/>
          </ac:picMkLst>
        </pc:picChg>
        <pc:picChg chg="add mod">
          <ac:chgData name="SAUVAN, Julien" userId="6e0e278e-5964-4c9d-b33f-6a7cf7de2f5c" providerId="ADAL" clId="{5603ED68-73EC-469B-BE1E-4C33A6C93B44}" dt="2019-01-11T09:12:42.366" v="661" actId="1076"/>
          <ac:picMkLst>
            <pc:docMk/>
            <pc:sldMk cId="3239501341" sldId="480"/>
            <ac:picMk id="5122" creationId="{585D28A3-7C68-4F40-8F07-0BAB912ABAE5}"/>
          </ac:picMkLst>
        </pc:picChg>
      </pc:sldChg>
      <pc:sldChg chg="addSp delSp modSp">
        <pc:chgData name="SAUVAN, Julien" userId="6e0e278e-5964-4c9d-b33f-6a7cf7de2f5c" providerId="ADAL" clId="{5603ED68-73EC-469B-BE1E-4C33A6C93B44}" dt="2019-01-11T10:48:02.903" v="2332" actId="20577"/>
        <pc:sldMkLst>
          <pc:docMk/>
          <pc:sldMk cId="3788013018" sldId="481"/>
        </pc:sldMkLst>
        <pc:spChg chg="del">
          <ac:chgData name="SAUVAN, Julien" userId="6e0e278e-5964-4c9d-b33f-6a7cf7de2f5c" providerId="ADAL" clId="{5603ED68-73EC-469B-BE1E-4C33A6C93B44}" dt="2019-01-11T10:37:00.719" v="1992" actId="478"/>
          <ac:spMkLst>
            <pc:docMk/>
            <pc:sldMk cId="3788013018" sldId="481"/>
            <ac:spMk id="4" creationId="{A91635E3-F78F-4A55-A715-6B1D7AF40466}"/>
          </ac:spMkLst>
        </pc:spChg>
        <pc:spChg chg="add mod">
          <ac:chgData name="SAUVAN, Julien" userId="6e0e278e-5964-4c9d-b33f-6a7cf7de2f5c" providerId="ADAL" clId="{5603ED68-73EC-469B-BE1E-4C33A6C93B44}" dt="2019-01-11T10:44:35.898" v="2251" actId="20577"/>
          <ac:spMkLst>
            <pc:docMk/>
            <pc:sldMk cId="3788013018" sldId="481"/>
            <ac:spMk id="6" creationId="{5635A0A0-2EE7-4BE7-AD68-847BD58BE191}"/>
          </ac:spMkLst>
        </pc:spChg>
        <pc:spChg chg="add mod">
          <ac:chgData name="SAUVAN, Julien" userId="6e0e278e-5964-4c9d-b33f-6a7cf7de2f5c" providerId="ADAL" clId="{5603ED68-73EC-469B-BE1E-4C33A6C93B44}" dt="2019-01-11T10:46:40.384" v="2278" actId="207"/>
          <ac:spMkLst>
            <pc:docMk/>
            <pc:sldMk cId="3788013018" sldId="481"/>
            <ac:spMk id="7" creationId="{41FA1B93-285D-4DC5-8A3C-E7903E52C2F2}"/>
          </ac:spMkLst>
        </pc:spChg>
        <pc:spChg chg="add mod">
          <ac:chgData name="SAUVAN, Julien" userId="6e0e278e-5964-4c9d-b33f-6a7cf7de2f5c" providerId="ADAL" clId="{5603ED68-73EC-469B-BE1E-4C33A6C93B44}" dt="2019-01-11T10:48:02.903" v="2332" actId="20577"/>
          <ac:spMkLst>
            <pc:docMk/>
            <pc:sldMk cId="3788013018" sldId="481"/>
            <ac:spMk id="8" creationId="{4B5E9134-AA58-40A1-974E-9234A500B02C}"/>
          </ac:spMkLst>
        </pc:spChg>
        <pc:spChg chg="add mod">
          <ac:chgData name="SAUVAN, Julien" userId="6e0e278e-5964-4c9d-b33f-6a7cf7de2f5c" providerId="ADAL" clId="{5603ED68-73EC-469B-BE1E-4C33A6C93B44}" dt="2019-01-11T10:47:37.950" v="2287" actId="1076"/>
          <ac:spMkLst>
            <pc:docMk/>
            <pc:sldMk cId="3788013018" sldId="481"/>
            <ac:spMk id="9" creationId="{0BCD15CB-C943-4F19-9835-6A3F229C6BFE}"/>
          </ac:spMkLst>
        </pc:spChg>
        <pc:picChg chg="add mod">
          <ac:chgData name="SAUVAN, Julien" userId="6e0e278e-5964-4c9d-b33f-6a7cf7de2f5c" providerId="ADAL" clId="{5603ED68-73EC-469B-BE1E-4C33A6C93B44}" dt="2019-01-11T10:37:15.121" v="1994" actId="1076"/>
          <ac:picMkLst>
            <pc:docMk/>
            <pc:sldMk cId="3788013018" sldId="481"/>
            <ac:picMk id="3" creationId="{6408181C-4706-47D0-BE80-73E25BA88D2D}"/>
          </ac:picMkLst>
        </pc:picChg>
        <pc:picChg chg="add mod">
          <ac:chgData name="SAUVAN, Julien" userId="6e0e278e-5964-4c9d-b33f-6a7cf7de2f5c" providerId="ADAL" clId="{5603ED68-73EC-469B-BE1E-4C33A6C93B44}" dt="2019-01-11T10:37:11.337" v="1993" actId="1076"/>
          <ac:picMkLst>
            <pc:docMk/>
            <pc:sldMk cId="3788013018" sldId="481"/>
            <ac:picMk id="6146" creationId="{5BFD898E-D726-4861-A9FE-319FB52149AF}"/>
          </ac:picMkLst>
        </pc:picChg>
      </pc:sldChg>
      <pc:sldChg chg="addSp delSp modSp">
        <pc:chgData name="SAUVAN, Julien" userId="6e0e278e-5964-4c9d-b33f-6a7cf7de2f5c" providerId="ADAL" clId="{5603ED68-73EC-469B-BE1E-4C33A6C93B44}" dt="2019-01-12T17:24:45.230" v="4761" actId="207"/>
        <pc:sldMkLst>
          <pc:docMk/>
          <pc:sldMk cId="2041021884" sldId="482"/>
        </pc:sldMkLst>
        <pc:spChg chg="add mod">
          <ac:chgData name="SAUVAN, Julien" userId="6e0e278e-5964-4c9d-b33f-6a7cf7de2f5c" providerId="ADAL" clId="{5603ED68-73EC-469B-BE1E-4C33A6C93B44}" dt="2019-01-11T11:05:25.239" v="2940" actId="1036"/>
          <ac:spMkLst>
            <pc:docMk/>
            <pc:sldMk cId="2041021884" sldId="482"/>
            <ac:spMk id="2" creationId="{791243E9-38C7-4C03-9A20-607B156A985A}"/>
          </ac:spMkLst>
        </pc:spChg>
        <pc:spChg chg="add mod">
          <ac:chgData name="SAUVAN, Julien" userId="6e0e278e-5964-4c9d-b33f-6a7cf7de2f5c" providerId="ADAL" clId="{5603ED68-73EC-469B-BE1E-4C33A6C93B44}" dt="2019-01-12T17:24:45.230" v="4761" actId="207"/>
          <ac:spMkLst>
            <pc:docMk/>
            <pc:sldMk cId="2041021884" sldId="482"/>
            <ac:spMk id="4" creationId="{8C76A8BC-23DA-409D-81EB-D8FE9BB94469}"/>
          </ac:spMkLst>
        </pc:spChg>
        <pc:spChg chg="del">
          <ac:chgData name="SAUVAN, Julien" userId="6e0e278e-5964-4c9d-b33f-6a7cf7de2f5c" providerId="ADAL" clId="{5603ED68-73EC-469B-BE1E-4C33A6C93B44}" dt="2019-01-10T14:59:30.605" v="222" actId="478"/>
          <ac:spMkLst>
            <pc:docMk/>
            <pc:sldMk cId="2041021884" sldId="482"/>
            <ac:spMk id="4" creationId="{A91635E3-F78F-4A55-A715-6B1D7AF40466}"/>
          </ac:spMkLst>
        </pc:spChg>
        <pc:spChg chg="add mod">
          <ac:chgData name="SAUVAN, Julien" userId="6e0e278e-5964-4c9d-b33f-6a7cf7de2f5c" providerId="ADAL" clId="{5603ED68-73EC-469B-BE1E-4C33A6C93B44}" dt="2019-01-11T11:14:48.705" v="2964" actId="1076"/>
          <ac:spMkLst>
            <pc:docMk/>
            <pc:sldMk cId="2041021884" sldId="482"/>
            <ac:spMk id="6" creationId="{9E5F4DA9-5BC2-4F13-9325-B2EF45E6BCDC}"/>
          </ac:spMkLst>
        </pc:spChg>
        <pc:spChg chg="add mod">
          <ac:chgData name="SAUVAN, Julien" userId="6e0e278e-5964-4c9d-b33f-6a7cf7de2f5c" providerId="ADAL" clId="{5603ED68-73EC-469B-BE1E-4C33A6C93B44}" dt="2019-01-11T11:08:58.206" v="2960" actId="1035"/>
          <ac:spMkLst>
            <pc:docMk/>
            <pc:sldMk cId="2041021884" sldId="482"/>
            <ac:spMk id="7" creationId="{10DC59A7-A8DC-4551-AC6A-854AB3E981E3}"/>
          </ac:spMkLst>
        </pc:spChg>
        <pc:picChg chg="add mod">
          <ac:chgData name="SAUVAN, Julien" userId="6e0e278e-5964-4c9d-b33f-6a7cf7de2f5c" providerId="ADAL" clId="{5603ED68-73EC-469B-BE1E-4C33A6C93B44}" dt="2019-01-11T11:08:29.457" v="2948" actId="1076"/>
          <ac:picMkLst>
            <pc:docMk/>
            <pc:sldMk cId="2041021884" sldId="482"/>
            <ac:picMk id="3" creationId="{169AF527-1E2F-4AA3-AAFA-24B9B69B7E70}"/>
          </ac:picMkLst>
        </pc:picChg>
        <pc:picChg chg="add mod">
          <ac:chgData name="SAUVAN, Julien" userId="6e0e278e-5964-4c9d-b33f-6a7cf7de2f5c" providerId="ADAL" clId="{5603ED68-73EC-469B-BE1E-4C33A6C93B44}" dt="2019-01-11T11:06:56.827" v="2945" actId="1076"/>
          <ac:picMkLst>
            <pc:docMk/>
            <pc:sldMk cId="2041021884" sldId="482"/>
            <ac:picMk id="8" creationId="{2E017000-1419-4922-B3C6-45A6F5E54C71}"/>
          </ac:picMkLst>
        </pc:picChg>
      </pc:sldChg>
      <pc:sldChg chg="addSp delSp modSp">
        <pc:chgData name="SAUVAN, Julien" userId="6e0e278e-5964-4c9d-b33f-6a7cf7de2f5c" providerId="ADAL" clId="{5603ED68-73EC-469B-BE1E-4C33A6C93B44}" dt="2019-01-12T17:24:25.286" v="4759" actId="207"/>
        <pc:sldMkLst>
          <pc:docMk/>
          <pc:sldMk cId="2227275779" sldId="483"/>
        </pc:sldMkLst>
        <pc:spChg chg="add mod">
          <ac:chgData name="SAUVAN, Julien" userId="6e0e278e-5964-4c9d-b33f-6a7cf7de2f5c" providerId="ADAL" clId="{5603ED68-73EC-469B-BE1E-4C33A6C93B44}" dt="2019-01-12T15:40:24.134" v="4030" actId="20577"/>
          <ac:spMkLst>
            <pc:docMk/>
            <pc:sldMk cId="2227275779" sldId="483"/>
            <ac:spMk id="2" creationId="{502433FD-68C5-4718-8FD7-8AC4585934CD}"/>
          </ac:spMkLst>
        </pc:spChg>
        <pc:spChg chg="mod">
          <ac:chgData name="SAUVAN, Julien" userId="6e0e278e-5964-4c9d-b33f-6a7cf7de2f5c" providerId="ADAL" clId="{5603ED68-73EC-469B-BE1E-4C33A6C93B44}" dt="2019-01-12T15:37:49.996" v="3969" actId="1076"/>
          <ac:spMkLst>
            <pc:docMk/>
            <pc:sldMk cId="2227275779" sldId="483"/>
            <ac:spMk id="4" creationId="{A91635E3-F78F-4A55-A715-6B1D7AF40466}"/>
          </ac:spMkLst>
        </pc:spChg>
        <pc:spChg chg="add mod">
          <ac:chgData name="SAUVAN, Julien" userId="6e0e278e-5964-4c9d-b33f-6a7cf7de2f5c" providerId="ADAL" clId="{5603ED68-73EC-469B-BE1E-4C33A6C93B44}" dt="2019-01-12T17:24:25.286" v="4759" actId="207"/>
          <ac:spMkLst>
            <pc:docMk/>
            <pc:sldMk cId="2227275779" sldId="483"/>
            <ac:spMk id="12" creationId="{4D77BBA9-3246-42B1-909F-1954C61F3773}"/>
          </ac:spMkLst>
        </pc:spChg>
        <pc:spChg chg="add mod">
          <ac:chgData name="SAUVAN, Julien" userId="6e0e278e-5964-4c9d-b33f-6a7cf7de2f5c" providerId="ADAL" clId="{5603ED68-73EC-469B-BE1E-4C33A6C93B44}" dt="2019-01-12T15:44:00.519" v="4113" actId="1076"/>
          <ac:spMkLst>
            <pc:docMk/>
            <pc:sldMk cId="2227275779" sldId="483"/>
            <ac:spMk id="13" creationId="{D4ED0154-B7E5-492B-90AC-996535F6D0C8}"/>
          </ac:spMkLst>
        </pc:spChg>
        <pc:picChg chg="add mod">
          <ac:chgData name="SAUVAN, Julien" userId="6e0e278e-5964-4c9d-b33f-6a7cf7de2f5c" providerId="ADAL" clId="{5603ED68-73EC-469B-BE1E-4C33A6C93B44}" dt="2019-01-12T15:38:03.378" v="3971" actId="1076"/>
          <ac:picMkLst>
            <pc:docMk/>
            <pc:sldMk cId="2227275779" sldId="483"/>
            <ac:picMk id="3" creationId="{BC8DBE2C-8751-4056-B696-664C1DD89F04}"/>
          </ac:picMkLst>
        </pc:picChg>
        <pc:picChg chg="add del mod">
          <ac:chgData name="SAUVAN, Julien" userId="6e0e278e-5964-4c9d-b33f-6a7cf7de2f5c" providerId="ADAL" clId="{5603ED68-73EC-469B-BE1E-4C33A6C93B44}" dt="2019-01-12T15:37:34.192" v="3964"/>
          <ac:picMkLst>
            <pc:docMk/>
            <pc:sldMk cId="2227275779" sldId="483"/>
            <ac:picMk id="7" creationId="{3C7CBB88-E496-4595-ACA5-B03EF8D22EE4}"/>
          </ac:picMkLst>
        </pc:picChg>
        <pc:picChg chg="add del mod">
          <ac:chgData name="SAUVAN, Julien" userId="6e0e278e-5964-4c9d-b33f-6a7cf7de2f5c" providerId="ADAL" clId="{5603ED68-73EC-469B-BE1E-4C33A6C93B44}" dt="2019-01-12T15:38:55.944" v="3972" actId="478"/>
          <ac:picMkLst>
            <pc:docMk/>
            <pc:sldMk cId="2227275779" sldId="483"/>
            <ac:picMk id="8" creationId="{81A59BB5-74BA-4261-93B4-A1F9DACF76DA}"/>
          </ac:picMkLst>
        </pc:picChg>
        <pc:picChg chg="add del mod">
          <ac:chgData name="SAUVAN, Julien" userId="6e0e278e-5964-4c9d-b33f-6a7cf7de2f5c" providerId="ADAL" clId="{5603ED68-73EC-469B-BE1E-4C33A6C93B44}" dt="2019-01-12T15:39:33.407" v="3976" actId="478"/>
          <ac:picMkLst>
            <pc:docMk/>
            <pc:sldMk cId="2227275779" sldId="483"/>
            <ac:picMk id="9" creationId="{3997CAC4-5FAC-44DF-A717-FC647F84B458}"/>
          </ac:picMkLst>
        </pc:picChg>
        <pc:picChg chg="add del mod">
          <ac:chgData name="SAUVAN, Julien" userId="6e0e278e-5964-4c9d-b33f-6a7cf7de2f5c" providerId="ADAL" clId="{5603ED68-73EC-469B-BE1E-4C33A6C93B44}" dt="2019-01-12T15:44:30.695" v="4115" actId="478"/>
          <ac:picMkLst>
            <pc:docMk/>
            <pc:sldMk cId="2227275779" sldId="483"/>
            <ac:picMk id="11" creationId="{B9E043D4-598D-4943-ABBF-29E65972712D}"/>
          </ac:picMkLst>
        </pc:picChg>
        <pc:picChg chg="add mod">
          <ac:chgData name="SAUVAN, Julien" userId="6e0e278e-5964-4c9d-b33f-6a7cf7de2f5c" providerId="ADAL" clId="{5603ED68-73EC-469B-BE1E-4C33A6C93B44}" dt="2019-01-12T15:45:36.406" v="4119" actId="1076"/>
          <ac:picMkLst>
            <pc:docMk/>
            <pc:sldMk cId="2227275779" sldId="483"/>
            <ac:picMk id="15" creationId="{D92472D5-1111-4356-823B-7F4D0AA3F53A}"/>
          </ac:picMkLst>
        </pc:picChg>
      </pc:sldChg>
      <pc:sldChg chg="addSp delSp modSp">
        <pc:chgData name="SAUVAN, Julien" userId="6e0e278e-5964-4c9d-b33f-6a7cf7de2f5c" providerId="ADAL" clId="{5603ED68-73EC-469B-BE1E-4C33A6C93B44}" dt="2019-01-12T18:02:02.115" v="5749" actId="1076"/>
        <pc:sldMkLst>
          <pc:docMk/>
          <pc:sldMk cId="2910774406" sldId="486"/>
        </pc:sldMkLst>
        <pc:spChg chg="add mod">
          <ac:chgData name="SAUVAN, Julien" userId="6e0e278e-5964-4c9d-b33f-6a7cf7de2f5c" providerId="ADAL" clId="{5603ED68-73EC-469B-BE1E-4C33A6C93B44}" dt="2019-01-12T17:59:49.301" v="5746" actId="20577"/>
          <ac:spMkLst>
            <pc:docMk/>
            <pc:sldMk cId="2910774406" sldId="486"/>
            <ac:spMk id="2" creationId="{14C13C34-53C4-47DE-BD73-C6C4DBAE15BE}"/>
          </ac:spMkLst>
        </pc:spChg>
        <pc:spChg chg="del">
          <ac:chgData name="SAUVAN, Julien" userId="6e0e278e-5964-4c9d-b33f-6a7cf7de2f5c" providerId="ADAL" clId="{5603ED68-73EC-469B-BE1E-4C33A6C93B44}" dt="2019-01-11T13:44:45.034" v="2965" actId="478"/>
          <ac:spMkLst>
            <pc:docMk/>
            <pc:sldMk cId="2910774406" sldId="486"/>
            <ac:spMk id="4" creationId="{A91635E3-F78F-4A55-A715-6B1D7AF40466}"/>
          </ac:spMkLst>
        </pc:spChg>
        <pc:picChg chg="add mod modCrop">
          <ac:chgData name="SAUVAN, Julien" userId="6e0e278e-5964-4c9d-b33f-6a7cf7de2f5c" providerId="ADAL" clId="{5603ED68-73EC-469B-BE1E-4C33A6C93B44}" dt="2019-01-12T18:02:02.115" v="5749" actId="1076"/>
          <ac:picMkLst>
            <pc:docMk/>
            <pc:sldMk cId="2910774406" sldId="486"/>
            <ac:picMk id="4" creationId="{80360D6B-68AA-4CB2-8C45-73B2D4D40730}"/>
          </ac:picMkLst>
        </pc:picChg>
      </pc:sldChg>
      <pc:sldChg chg="modSp">
        <pc:chgData name="SAUVAN, Julien" userId="6e0e278e-5964-4c9d-b33f-6a7cf7de2f5c" providerId="ADAL" clId="{5603ED68-73EC-469B-BE1E-4C33A6C93B44}" dt="2019-01-11T17:54:50.207" v="3742" actId="20577"/>
        <pc:sldMkLst>
          <pc:docMk/>
          <pc:sldMk cId="546719861" sldId="488"/>
        </pc:sldMkLst>
        <pc:spChg chg="mod">
          <ac:chgData name="SAUVAN, Julien" userId="6e0e278e-5964-4c9d-b33f-6a7cf7de2f5c" providerId="ADAL" clId="{5603ED68-73EC-469B-BE1E-4C33A6C93B44}" dt="2019-01-11T17:54:50.207" v="3742" actId="20577"/>
          <ac:spMkLst>
            <pc:docMk/>
            <pc:sldMk cId="546719861" sldId="488"/>
            <ac:spMk id="2" creationId="{00000000-0000-0000-0000-000000000000}"/>
          </ac:spMkLst>
        </pc:spChg>
      </pc:sldChg>
      <pc:sldChg chg="addSp delSp modSp">
        <pc:chgData name="SAUVAN, Julien" userId="6e0e278e-5964-4c9d-b33f-6a7cf7de2f5c" providerId="ADAL" clId="{5603ED68-73EC-469B-BE1E-4C33A6C93B44}" dt="2019-01-10T14:33:45.833" v="12" actId="1076"/>
        <pc:sldMkLst>
          <pc:docMk/>
          <pc:sldMk cId="2822705296" sldId="489"/>
        </pc:sldMkLst>
        <pc:spChg chg="del">
          <ac:chgData name="SAUVAN, Julien" userId="6e0e278e-5964-4c9d-b33f-6a7cf7de2f5c" providerId="ADAL" clId="{5603ED68-73EC-469B-BE1E-4C33A6C93B44}" dt="2019-01-10T14:32:08.999" v="5" actId="478"/>
          <ac:spMkLst>
            <pc:docMk/>
            <pc:sldMk cId="2822705296" sldId="489"/>
            <ac:spMk id="4" creationId="{A91635E3-F78F-4A55-A715-6B1D7AF40466}"/>
          </ac:spMkLst>
        </pc:spChg>
        <pc:spChg chg="add mod">
          <ac:chgData name="SAUVAN, Julien" userId="6e0e278e-5964-4c9d-b33f-6a7cf7de2f5c" providerId="ADAL" clId="{5603ED68-73EC-469B-BE1E-4C33A6C93B44}" dt="2019-01-10T14:33:45.833" v="12" actId="1076"/>
          <ac:spMkLst>
            <pc:docMk/>
            <pc:sldMk cId="2822705296" sldId="489"/>
            <ac:spMk id="6" creationId="{2DEC97DA-A4BF-4871-BB47-568B6DE08F5A}"/>
          </ac:spMkLst>
        </pc:spChg>
        <pc:picChg chg="add mod">
          <ac:chgData name="SAUVAN, Julien" userId="6e0e278e-5964-4c9d-b33f-6a7cf7de2f5c" providerId="ADAL" clId="{5603ED68-73EC-469B-BE1E-4C33A6C93B44}" dt="2019-01-10T14:33:06.383" v="9" actId="1076"/>
          <ac:picMkLst>
            <pc:docMk/>
            <pc:sldMk cId="2822705296" sldId="489"/>
            <ac:picMk id="3" creationId="{5C2C0C14-54E0-4E4F-9994-D13B6BA4FD5C}"/>
          </ac:picMkLst>
        </pc:picChg>
      </pc:sldChg>
      <pc:sldChg chg="addSp delSp modSp add">
        <pc:chgData name="SAUVAN, Julien" userId="6e0e278e-5964-4c9d-b33f-6a7cf7de2f5c" providerId="ADAL" clId="{5603ED68-73EC-469B-BE1E-4C33A6C93B44}" dt="2019-01-10T14:34:27.251" v="51"/>
        <pc:sldMkLst>
          <pc:docMk/>
          <pc:sldMk cId="1270532686" sldId="497"/>
        </pc:sldMkLst>
        <pc:spChg chg="mod">
          <ac:chgData name="SAUVAN, Julien" userId="6e0e278e-5964-4c9d-b33f-6a7cf7de2f5c" providerId="ADAL" clId="{5603ED68-73EC-469B-BE1E-4C33A6C93B44}" dt="2019-01-10T14:34:02.135" v="46" actId="20577"/>
          <ac:spMkLst>
            <pc:docMk/>
            <pc:sldMk cId="1270532686" sldId="497"/>
            <ac:spMk id="5" creationId="{31F063E0-AED8-4EB3-8D3B-3BE626953929}"/>
          </ac:spMkLst>
        </pc:spChg>
        <pc:spChg chg="del">
          <ac:chgData name="SAUVAN, Julien" userId="6e0e278e-5964-4c9d-b33f-6a7cf7de2f5c" providerId="ADAL" clId="{5603ED68-73EC-469B-BE1E-4C33A6C93B44}" dt="2019-01-10T14:34:06.974" v="47" actId="478"/>
          <ac:spMkLst>
            <pc:docMk/>
            <pc:sldMk cId="1270532686" sldId="497"/>
            <ac:spMk id="6" creationId="{2DEC97DA-A4BF-4871-BB47-568B6DE08F5A}"/>
          </ac:spMkLst>
        </pc:spChg>
        <pc:spChg chg="add mod">
          <ac:chgData name="SAUVAN, Julien" userId="6e0e278e-5964-4c9d-b33f-6a7cf7de2f5c" providerId="ADAL" clId="{5603ED68-73EC-469B-BE1E-4C33A6C93B44}" dt="2019-01-10T14:34:23.017" v="50" actId="1076"/>
          <ac:spMkLst>
            <pc:docMk/>
            <pc:sldMk cId="1270532686" sldId="497"/>
            <ac:spMk id="7" creationId="{8B2C8BA7-8E59-46BF-84AB-1593E8B5DF90}"/>
          </ac:spMkLst>
        </pc:spChg>
        <pc:picChg chg="del">
          <ac:chgData name="SAUVAN, Julien" userId="6e0e278e-5964-4c9d-b33f-6a7cf7de2f5c" providerId="ADAL" clId="{5603ED68-73EC-469B-BE1E-4C33A6C93B44}" dt="2019-01-10T14:34:08.542" v="48" actId="478"/>
          <ac:picMkLst>
            <pc:docMk/>
            <pc:sldMk cId="1270532686" sldId="497"/>
            <ac:picMk id="3" creationId="{5C2C0C14-54E0-4E4F-9994-D13B6BA4FD5C}"/>
          </ac:picMkLst>
        </pc:picChg>
        <pc:picChg chg="add">
          <ac:chgData name="SAUVAN, Julien" userId="6e0e278e-5964-4c9d-b33f-6a7cf7de2f5c" providerId="ADAL" clId="{5603ED68-73EC-469B-BE1E-4C33A6C93B44}" dt="2019-01-10T14:34:27.251" v="51"/>
          <ac:picMkLst>
            <pc:docMk/>
            <pc:sldMk cId="1270532686" sldId="497"/>
            <ac:picMk id="8" creationId="{9F9EC17D-A3E9-492B-A67E-FD002FBD462C}"/>
          </ac:picMkLst>
        </pc:picChg>
      </pc:sldChg>
      <pc:sldChg chg="addSp delSp modSp add">
        <pc:chgData name="SAUVAN, Julien" userId="6e0e278e-5964-4c9d-b33f-6a7cf7de2f5c" providerId="ADAL" clId="{5603ED68-73EC-469B-BE1E-4C33A6C93B44}" dt="2019-01-10T14:35:29.848" v="81" actId="1076"/>
        <pc:sldMkLst>
          <pc:docMk/>
          <pc:sldMk cId="947231124" sldId="498"/>
        </pc:sldMkLst>
        <pc:spChg chg="mod">
          <ac:chgData name="SAUVAN, Julien" userId="6e0e278e-5964-4c9d-b33f-6a7cf7de2f5c" providerId="ADAL" clId="{5603ED68-73EC-469B-BE1E-4C33A6C93B44}" dt="2019-01-10T14:34:54.119" v="77" actId="20577"/>
          <ac:spMkLst>
            <pc:docMk/>
            <pc:sldMk cId="947231124" sldId="498"/>
            <ac:spMk id="5" creationId="{31F063E0-AED8-4EB3-8D3B-3BE626953929}"/>
          </ac:spMkLst>
        </pc:spChg>
        <pc:spChg chg="add mod">
          <ac:chgData name="SAUVAN, Julien" userId="6e0e278e-5964-4c9d-b33f-6a7cf7de2f5c" providerId="ADAL" clId="{5603ED68-73EC-469B-BE1E-4C33A6C93B44}" dt="2019-01-10T14:35:29.848" v="81" actId="1076"/>
          <ac:spMkLst>
            <pc:docMk/>
            <pc:sldMk cId="947231124" sldId="498"/>
            <ac:spMk id="6" creationId="{D9256B0C-43B6-4E05-8649-1322665753EA}"/>
          </ac:spMkLst>
        </pc:spChg>
        <pc:spChg chg="del">
          <ac:chgData name="SAUVAN, Julien" userId="6e0e278e-5964-4c9d-b33f-6a7cf7de2f5c" providerId="ADAL" clId="{5603ED68-73EC-469B-BE1E-4C33A6C93B44}" dt="2019-01-10T14:34:57.168" v="78" actId="478"/>
          <ac:spMkLst>
            <pc:docMk/>
            <pc:sldMk cId="947231124" sldId="498"/>
            <ac:spMk id="7" creationId="{8B2C8BA7-8E59-46BF-84AB-1593E8B5DF90}"/>
          </ac:spMkLst>
        </pc:spChg>
        <pc:spChg chg="add mod">
          <ac:chgData name="SAUVAN, Julien" userId="6e0e278e-5964-4c9d-b33f-6a7cf7de2f5c" providerId="ADAL" clId="{5603ED68-73EC-469B-BE1E-4C33A6C93B44}" dt="2019-01-10T14:35:29.848" v="81" actId="1076"/>
          <ac:spMkLst>
            <pc:docMk/>
            <pc:sldMk cId="947231124" sldId="498"/>
            <ac:spMk id="9" creationId="{02E4ED7F-FB11-4196-813D-EDFD5885F858}"/>
          </ac:spMkLst>
        </pc:spChg>
        <pc:spChg chg="add mod">
          <ac:chgData name="SAUVAN, Julien" userId="6e0e278e-5964-4c9d-b33f-6a7cf7de2f5c" providerId="ADAL" clId="{5603ED68-73EC-469B-BE1E-4C33A6C93B44}" dt="2019-01-10T14:35:29.848" v="81" actId="1076"/>
          <ac:spMkLst>
            <pc:docMk/>
            <pc:sldMk cId="947231124" sldId="498"/>
            <ac:spMk id="10" creationId="{836D1D62-F954-41F8-A111-C7B2D5A74C9B}"/>
          </ac:spMkLst>
        </pc:spChg>
        <pc:spChg chg="add mod">
          <ac:chgData name="SAUVAN, Julien" userId="6e0e278e-5964-4c9d-b33f-6a7cf7de2f5c" providerId="ADAL" clId="{5603ED68-73EC-469B-BE1E-4C33A6C93B44}" dt="2019-01-10T14:35:29.848" v="81" actId="1076"/>
          <ac:spMkLst>
            <pc:docMk/>
            <pc:sldMk cId="947231124" sldId="498"/>
            <ac:spMk id="11" creationId="{9D5A6E46-81A9-41D1-B067-D8C810DA3296}"/>
          </ac:spMkLst>
        </pc:spChg>
        <pc:spChg chg="add mod">
          <ac:chgData name="SAUVAN, Julien" userId="6e0e278e-5964-4c9d-b33f-6a7cf7de2f5c" providerId="ADAL" clId="{5603ED68-73EC-469B-BE1E-4C33A6C93B44}" dt="2019-01-10T14:35:29.848" v="81" actId="1076"/>
          <ac:spMkLst>
            <pc:docMk/>
            <pc:sldMk cId="947231124" sldId="498"/>
            <ac:spMk id="12" creationId="{7EF88CC6-1D87-4DF7-93DE-4C1503F016ED}"/>
          </ac:spMkLst>
        </pc:spChg>
        <pc:spChg chg="add mod">
          <ac:chgData name="SAUVAN, Julien" userId="6e0e278e-5964-4c9d-b33f-6a7cf7de2f5c" providerId="ADAL" clId="{5603ED68-73EC-469B-BE1E-4C33A6C93B44}" dt="2019-01-10T14:35:29.848" v="81" actId="1076"/>
          <ac:spMkLst>
            <pc:docMk/>
            <pc:sldMk cId="947231124" sldId="498"/>
            <ac:spMk id="13" creationId="{4FEBDBEB-BBD2-4715-AAAF-BE624AEBDFD4}"/>
          </ac:spMkLst>
        </pc:spChg>
        <pc:picChg chg="del">
          <ac:chgData name="SAUVAN, Julien" userId="6e0e278e-5964-4c9d-b33f-6a7cf7de2f5c" providerId="ADAL" clId="{5603ED68-73EC-469B-BE1E-4C33A6C93B44}" dt="2019-01-10T14:34:58.753" v="79" actId="478"/>
          <ac:picMkLst>
            <pc:docMk/>
            <pc:sldMk cId="947231124" sldId="498"/>
            <ac:picMk id="8" creationId="{9F9EC17D-A3E9-492B-A67E-FD002FBD462C}"/>
          </ac:picMkLst>
        </pc:picChg>
        <pc:cxnChg chg="add mod">
          <ac:chgData name="SAUVAN, Julien" userId="6e0e278e-5964-4c9d-b33f-6a7cf7de2f5c" providerId="ADAL" clId="{5603ED68-73EC-469B-BE1E-4C33A6C93B44}" dt="2019-01-10T14:35:29.848" v="81" actId="1076"/>
          <ac:cxnSpMkLst>
            <pc:docMk/>
            <pc:sldMk cId="947231124" sldId="498"/>
            <ac:cxnSpMk id="14" creationId="{9A171859-794E-4780-A735-37D7E25FAB42}"/>
          </ac:cxnSpMkLst>
        </pc:cxnChg>
        <pc:cxnChg chg="add mod">
          <ac:chgData name="SAUVAN, Julien" userId="6e0e278e-5964-4c9d-b33f-6a7cf7de2f5c" providerId="ADAL" clId="{5603ED68-73EC-469B-BE1E-4C33A6C93B44}" dt="2019-01-10T14:35:29.848" v="81" actId="1076"/>
          <ac:cxnSpMkLst>
            <pc:docMk/>
            <pc:sldMk cId="947231124" sldId="498"/>
            <ac:cxnSpMk id="15" creationId="{1587D5E2-E525-444F-AD36-E17ECBD4C1A3}"/>
          </ac:cxnSpMkLst>
        </pc:cxnChg>
        <pc:cxnChg chg="add mod">
          <ac:chgData name="SAUVAN, Julien" userId="6e0e278e-5964-4c9d-b33f-6a7cf7de2f5c" providerId="ADAL" clId="{5603ED68-73EC-469B-BE1E-4C33A6C93B44}" dt="2019-01-10T14:35:29.848" v="81" actId="1076"/>
          <ac:cxnSpMkLst>
            <pc:docMk/>
            <pc:sldMk cId="947231124" sldId="498"/>
            <ac:cxnSpMk id="16" creationId="{F579A455-CCF9-4C26-BDFD-8FB5767E44F4}"/>
          </ac:cxnSpMkLst>
        </pc:cxnChg>
      </pc:sldChg>
      <pc:sldChg chg="addSp delSp modSp add">
        <pc:chgData name="SAUVAN, Julien" userId="6e0e278e-5964-4c9d-b33f-6a7cf7de2f5c" providerId="ADAL" clId="{5603ED68-73EC-469B-BE1E-4C33A6C93B44}" dt="2019-01-10T14:38:56.449" v="124" actId="207"/>
        <pc:sldMkLst>
          <pc:docMk/>
          <pc:sldMk cId="4232323271" sldId="499"/>
        </pc:sldMkLst>
        <pc:spChg chg="mod">
          <ac:chgData name="SAUVAN, Julien" userId="6e0e278e-5964-4c9d-b33f-6a7cf7de2f5c" providerId="ADAL" clId="{5603ED68-73EC-469B-BE1E-4C33A6C93B44}" dt="2019-01-10T14:38:12.473" v="119" actId="20577"/>
          <ac:spMkLst>
            <pc:docMk/>
            <pc:sldMk cId="4232323271" sldId="499"/>
            <ac:spMk id="5" creationId="{31F063E0-AED8-4EB3-8D3B-3BE626953929}"/>
          </ac:spMkLst>
        </pc:spChg>
        <pc:spChg chg="del">
          <ac:chgData name="SAUVAN, Julien" userId="6e0e278e-5964-4c9d-b33f-6a7cf7de2f5c" providerId="ADAL" clId="{5603ED68-73EC-469B-BE1E-4C33A6C93B44}" dt="2019-01-10T14:38:22.396" v="121" actId="478"/>
          <ac:spMkLst>
            <pc:docMk/>
            <pc:sldMk cId="4232323271" sldId="499"/>
            <ac:spMk id="6" creationId="{D9256B0C-43B6-4E05-8649-1322665753EA}"/>
          </ac:spMkLst>
        </pc:spChg>
        <pc:spChg chg="del">
          <ac:chgData name="SAUVAN, Julien" userId="6e0e278e-5964-4c9d-b33f-6a7cf7de2f5c" providerId="ADAL" clId="{5603ED68-73EC-469B-BE1E-4C33A6C93B44}" dt="2019-01-10T14:38:22.396" v="121" actId="478"/>
          <ac:spMkLst>
            <pc:docMk/>
            <pc:sldMk cId="4232323271" sldId="499"/>
            <ac:spMk id="9" creationId="{02E4ED7F-FB11-4196-813D-EDFD5885F858}"/>
          </ac:spMkLst>
        </pc:spChg>
        <pc:spChg chg="del">
          <ac:chgData name="SAUVAN, Julien" userId="6e0e278e-5964-4c9d-b33f-6a7cf7de2f5c" providerId="ADAL" clId="{5603ED68-73EC-469B-BE1E-4C33A6C93B44}" dt="2019-01-10T14:38:22.396" v="121" actId="478"/>
          <ac:spMkLst>
            <pc:docMk/>
            <pc:sldMk cId="4232323271" sldId="499"/>
            <ac:spMk id="10" creationId="{836D1D62-F954-41F8-A111-C7B2D5A74C9B}"/>
          </ac:spMkLst>
        </pc:spChg>
        <pc:spChg chg="del">
          <ac:chgData name="SAUVAN, Julien" userId="6e0e278e-5964-4c9d-b33f-6a7cf7de2f5c" providerId="ADAL" clId="{5603ED68-73EC-469B-BE1E-4C33A6C93B44}" dt="2019-01-10T14:38:22.396" v="121" actId="478"/>
          <ac:spMkLst>
            <pc:docMk/>
            <pc:sldMk cId="4232323271" sldId="499"/>
            <ac:spMk id="11" creationId="{9D5A6E46-81A9-41D1-B067-D8C810DA3296}"/>
          </ac:spMkLst>
        </pc:spChg>
        <pc:spChg chg="del">
          <ac:chgData name="SAUVAN, Julien" userId="6e0e278e-5964-4c9d-b33f-6a7cf7de2f5c" providerId="ADAL" clId="{5603ED68-73EC-469B-BE1E-4C33A6C93B44}" dt="2019-01-10T14:38:22.396" v="121" actId="478"/>
          <ac:spMkLst>
            <pc:docMk/>
            <pc:sldMk cId="4232323271" sldId="499"/>
            <ac:spMk id="12" creationId="{7EF88CC6-1D87-4DF7-93DE-4C1503F016ED}"/>
          </ac:spMkLst>
        </pc:spChg>
        <pc:spChg chg="del">
          <ac:chgData name="SAUVAN, Julien" userId="6e0e278e-5964-4c9d-b33f-6a7cf7de2f5c" providerId="ADAL" clId="{5603ED68-73EC-469B-BE1E-4C33A6C93B44}" dt="2019-01-10T14:38:22.396" v="121" actId="478"/>
          <ac:spMkLst>
            <pc:docMk/>
            <pc:sldMk cId="4232323271" sldId="499"/>
            <ac:spMk id="13" creationId="{4FEBDBEB-BBD2-4715-AAAF-BE624AEBDFD4}"/>
          </ac:spMkLst>
        </pc:spChg>
        <pc:spChg chg="add mod">
          <ac:chgData name="SAUVAN, Julien" userId="6e0e278e-5964-4c9d-b33f-6a7cf7de2f5c" providerId="ADAL" clId="{5603ED68-73EC-469B-BE1E-4C33A6C93B44}" dt="2019-01-10T14:38:56.449" v="124" actId="207"/>
          <ac:spMkLst>
            <pc:docMk/>
            <pc:sldMk cId="4232323271" sldId="499"/>
            <ac:spMk id="21" creationId="{A7E13538-E866-4051-922D-4D028C6BC862}"/>
          </ac:spMkLst>
        </pc:spChg>
        <pc:spChg chg="add mod">
          <ac:chgData name="SAUVAN, Julien" userId="6e0e278e-5964-4c9d-b33f-6a7cf7de2f5c" providerId="ADAL" clId="{5603ED68-73EC-469B-BE1E-4C33A6C93B44}" dt="2019-01-10T14:38:48.961" v="123" actId="1076"/>
          <ac:spMkLst>
            <pc:docMk/>
            <pc:sldMk cId="4232323271" sldId="499"/>
            <ac:spMk id="22" creationId="{0A61D7BB-B2F7-427C-B31C-4D2EE6F0FE89}"/>
          </ac:spMkLst>
        </pc:spChg>
        <pc:spChg chg="add mod">
          <ac:chgData name="SAUVAN, Julien" userId="6e0e278e-5964-4c9d-b33f-6a7cf7de2f5c" providerId="ADAL" clId="{5603ED68-73EC-469B-BE1E-4C33A6C93B44}" dt="2019-01-10T14:38:48.961" v="123" actId="1076"/>
          <ac:spMkLst>
            <pc:docMk/>
            <pc:sldMk cId="4232323271" sldId="499"/>
            <ac:spMk id="23" creationId="{2AF721CE-CEBE-4FE9-A98A-44CD9DF39799}"/>
          </ac:spMkLst>
        </pc:spChg>
        <pc:spChg chg="add mod">
          <ac:chgData name="SAUVAN, Julien" userId="6e0e278e-5964-4c9d-b33f-6a7cf7de2f5c" providerId="ADAL" clId="{5603ED68-73EC-469B-BE1E-4C33A6C93B44}" dt="2019-01-10T14:38:48.961" v="123" actId="1076"/>
          <ac:spMkLst>
            <pc:docMk/>
            <pc:sldMk cId="4232323271" sldId="499"/>
            <ac:spMk id="24" creationId="{D3CC6A29-6A8B-480A-90B6-52211E0DA2E1}"/>
          </ac:spMkLst>
        </pc:spChg>
        <pc:spChg chg="add mod">
          <ac:chgData name="SAUVAN, Julien" userId="6e0e278e-5964-4c9d-b33f-6a7cf7de2f5c" providerId="ADAL" clId="{5603ED68-73EC-469B-BE1E-4C33A6C93B44}" dt="2019-01-10T14:38:48.961" v="123" actId="1076"/>
          <ac:spMkLst>
            <pc:docMk/>
            <pc:sldMk cId="4232323271" sldId="499"/>
            <ac:spMk id="25" creationId="{D847C87C-36E3-4005-8321-C49468C5323A}"/>
          </ac:spMkLst>
        </pc:spChg>
        <pc:grpChg chg="add mod">
          <ac:chgData name="SAUVAN, Julien" userId="6e0e278e-5964-4c9d-b33f-6a7cf7de2f5c" providerId="ADAL" clId="{5603ED68-73EC-469B-BE1E-4C33A6C93B44}" dt="2019-01-10T14:38:48.961" v="123" actId="1076"/>
          <ac:grpSpMkLst>
            <pc:docMk/>
            <pc:sldMk cId="4232323271" sldId="499"/>
            <ac:grpSpMk id="26" creationId="{B8102D82-9A64-4B0E-946F-26561CAF1D4B}"/>
          </ac:grpSpMkLst>
        </pc:grpChg>
        <pc:picChg chg="add mod">
          <ac:chgData name="SAUVAN, Julien" userId="6e0e278e-5964-4c9d-b33f-6a7cf7de2f5c" providerId="ADAL" clId="{5603ED68-73EC-469B-BE1E-4C33A6C93B44}" dt="2019-01-10T14:38:48.961" v="123" actId="1076"/>
          <ac:picMkLst>
            <pc:docMk/>
            <pc:sldMk cId="4232323271" sldId="499"/>
            <ac:picMk id="17" creationId="{71775623-9179-40D7-BB8E-A303E8A8213D}"/>
          </ac:picMkLst>
        </pc:picChg>
        <pc:picChg chg="add mod">
          <ac:chgData name="SAUVAN, Julien" userId="6e0e278e-5964-4c9d-b33f-6a7cf7de2f5c" providerId="ADAL" clId="{5603ED68-73EC-469B-BE1E-4C33A6C93B44}" dt="2019-01-10T14:38:48.961" v="123" actId="1076"/>
          <ac:picMkLst>
            <pc:docMk/>
            <pc:sldMk cId="4232323271" sldId="499"/>
            <ac:picMk id="18" creationId="{C8ED405B-CD04-4C22-911D-AA29996534AC}"/>
          </ac:picMkLst>
        </pc:picChg>
        <pc:picChg chg="add mod">
          <ac:chgData name="SAUVAN, Julien" userId="6e0e278e-5964-4c9d-b33f-6a7cf7de2f5c" providerId="ADAL" clId="{5603ED68-73EC-469B-BE1E-4C33A6C93B44}" dt="2019-01-10T14:38:48.961" v="123" actId="1076"/>
          <ac:picMkLst>
            <pc:docMk/>
            <pc:sldMk cId="4232323271" sldId="499"/>
            <ac:picMk id="19" creationId="{0CEB4A01-3A85-4BAA-A725-401EE607A253}"/>
          </ac:picMkLst>
        </pc:picChg>
        <pc:picChg chg="add mod">
          <ac:chgData name="SAUVAN, Julien" userId="6e0e278e-5964-4c9d-b33f-6a7cf7de2f5c" providerId="ADAL" clId="{5603ED68-73EC-469B-BE1E-4C33A6C93B44}" dt="2019-01-10T14:38:48.961" v="123" actId="1076"/>
          <ac:picMkLst>
            <pc:docMk/>
            <pc:sldMk cId="4232323271" sldId="499"/>
            <ac:picMk id="20" creationId="{3C3B9316-6646-41DA-9670-D1F7281A2A55}"/>
          </ac:picMkLst>
        </pc:picChg>
        <pc:cxnChg chg="del">
          <ac:chgData name="SAUVAN, Julien" userId="6e0e278e-5964-4c9d-b33f-6a7cf7de2f5c" providerId="ADAL" clId="{5603ED68-73EC-469B-BE1E-4C33A6C93B44}" dt="2019-01-10T14:38:17.881" v="120" actId="478"/>
          <ac:cxnSpMkLst>
            <pc:docMk/>
            <pc:sldMk cId="4232323271" sldId="499"/>
            <ac:cxnSpMk id="14" creationId="{9A171859-794E-4780-A735-37D7E25FAB42}"/>
          </ac:cxnSpMkLst>
        </pc:cxnChg>
        <pc:cxnChg chg="del">
          <ac:chgData name="SAUVAN, Julien" userId="6e0e278e-5964-4c9d-b33f-6a7cf7de2f5c" providerId="ADAL" clId="{5603ED68-73EC-469B-BE1E-4C33A6C93B44}" dt="2019-01-10T14:38:17.881" v="120" actId="478"/>
          <ac:cxnSpMkLst>
            <pc:docMk/>
            <pc:sldMk cId="4232323271" sldId="499"/>
            <ac:cxnSpMk id="15" creationId="{1587D5E2-E525-444F-AD36-E17ECBD4C1A3}"/>
          </ac:cxnSpMkLst>
        </pc:cxnChg>
        <pc:cxnChg chg="del">
          <ac:chgData name="SAUVAN, Julien" userId="6e0e278e-5964-4c9d-b33f-6a7cf7de2f5c" providerId="ADAL" clId="{5603ED68-73EC-469B-BE1E-4C33A6C93B44}" dt="2019-01-10T14:38:17.881" v="120" actId="478"/>
          <ac:cxnSpMkLst>
            <pc:docMk/>
            <pc:sldMk cId="4232323271" sldId="499"/>
            <ac:cxnSpMk id="16" creationId="{F579A455-CCF9-4C26-BDFD-8FB5767E44F4}"/>
          </ac:cxnSpMkLst>
        </pc:cxnChg>
      </pc:sldChg>
      <pc:sldChg chg="addSp delSp modSp add">
        <pc:chgData name="SAUVAN, Julien" userId="6e0e278e-5964-4c9d-b33f-6a7cf7de2f5c" providerId="ADAL" clId="{5603ED68-73EC-469B-BE1E-4C33A6C93B44}" dt="2019-01-10T14:40:20.515" v="165" actId="1036"/>
        <pc:sldMkLst>
          <pc:docMk/>
          <pc:sldMk cId="4059851963" sldId="500"/>
        </pc:sldMkLst>
        <pc:spChg chg="add mod">
          <ac:chgData name="SAUVAN, Julien" userId="6e0e278e-5964-4c9d-b33f-6a7cf7de2f5c" providerId="ADAL" clId="{5603ED68-73EC-469B-BE1E-4C33A6C93B44}" dt="2019-01-10T14:39:53.340" v="142" actId="1036"/>
          <ac:spMkLst>
            <pc:docMk/>
            <pc:sldMk cId="4059851963" sldId="500"/>
            <ac:spMk id="16" creationId="{5A50ABA9-FCF1-4127-80CC-CB27C56FABBA}"/>
          </ac:spMkLst>
        </pc:spChg>
        <pc:spChg chg="del">
          <ac:chgData name="SAUVAN, Julien" userId="6e0e278e-5964-4c9d-b33f-6a7cf7de2f5c" providerId="ADAL" clId="{5603ED68-73EC-469B-BE1E-4C33A6C93B44}" dt="2019-01-10T14:39:33.868" v="128" actId="478"/>
          <ac:spMkLst>
            <pc:docMk/>
            <pc:sldMk cId="4059851963" sldId="500"/>
            <ac:spMk id="22" creationId="{0A61D7BB-B2F7-427C-B31C-4D2EE6F0FE89}"/>
          </ac:spMkLst>
        </pc:spChg>
        <pc:spChg chg="del">
          <ac:chgData name="SAUVAN, Julien" userId="6e0e278e-5964-4c9d-b33f-6a7cf7de2f5c" providerId="ADAL" clId="{5603ED68-73EC-469B-BE1E-4C33A6C93B44}" dt="2019-01-10T14:39:30.357" v="127" actId="478"/>
          <ac:spMkLst>
            <pc:docMk/>
            <pc:sldMk cId="4059851963" sldId="500"/>
            <ac:spMk id="23" creationId="{2AF721CE-CEBE-4FE9-A98A-44CD9DF39799}"/>
          </ac:spMkLst>
        </pc:spChg>
        <pc:spChg chg="del">
          <ac:chgData name="SAUVAN, Julien" userId="6e0e278e-5964-4c9d-b33f-6a7cf7de2f5c" providerId="ADAL" clId="{5603ED68-73EC-469B-BE1E-4C33A6C93B44}" dt="2019-01-10T14:39:33.868" v="128" actId="478"/>
          <ac:spMkLst>
            <pc:docMk/>
            <pc:sldMk cId="4059851963" sldId="500"/>
            <ac:spMk id="24" creationId="{D3CC6A29-6A8B-480A-90B6-52211E0DA2E1}"/>
          </ac:spMkLst>
        </pc:spChg>
        <pc:spChg chg="del">
          <ac:chgData name="SAUVAN, Julien" userId="6e0e278e-5964-4c9d-b33f-6a7cf7de2f5c" providerId="ADAL" clId="{5603ED68-73EC-469B-BE1E-4C33A6C93B44}" dt="2019-01-10T14:39:30.357" v="127" actId="478"/>
          <ac:spMkLst>
            <pc:docMk/>
            <pc:sldMk cId="4059851963" sldId="500"/>
            <ac:spMk id="25" creationId="{D847C87C-36E3-4005-8321-C49468C5323A}"/>
          </ac:spMkLst>
        </pc:spChg>
        <pc:spChg chg="add mod">
          <ac:chgData name="SAUVAN, Julien" userId="6e0e278e-5964-4c9d-b33f-6a7cf7de2f5c" providerId="ADAL" clId="{5603ED68-73EC-469B-BE1E-4C33A6C93B44}" dt="2019-01-10T14:39:53.340" v="142" actId="1036"/>
          <ac:spMkLst>
            <pc:docMk/>
            <pc:sldMk cId="4059851963" sldId="500"/>
            <ac:spMk id="30" creationId="{DEFE43A9-59BE-44F6-A4DC-57C983000841}"/>
          </ac:spMkLst>
        </pc:spChg>
        <pc:spChg chg="add mod">
          <ac:chgData name="SAUVAN, Julien" userId="6e0e278e-5964-4c9d-b33f-6a7cf7de2f5c" providerId="ADAL" clId="{5603ED68-73EC-469B-BE1E-4C33A6C93B44}" dt="2019-01-10T14:39:53.340" v="142" actId="1036"/>
          <ac:spMkLst>
            <pc:docMk/>
            <pc:sldMk cId="4059851963" sldId="500"/>
            <ac:spMk id="31" creationId="{E0AFF476-8E80-4029-9A57-215833B52BD6}"/>
          </ac:spMkLst>
        </pc:spChg>
        <pc:spChg chg="add del">
          <ac:chgData name="SAUVAN, Julien" userId="6e0e278e-5964-4c9d-b33f-6a7cf7de2f5c" providerId="ADAL" clId="{5603ED68-73EC-469B-BE1E-4C33A6C93B44}" dt="2019-01-10T14:40:05.532" v="144"/>
          <ac:spMkLst>
            <pc:docMk/>
            <pc:sldMk cId="4059851963" sldId="500"/>
            <ac:spMk id="40" creationId="{C148C7D6-497B-45EE-A4F3-FABA45DA2E97}"/>
          </ac:spMkLst>
        </pc:spChg>
        <pc:spChg chg="add del">
          <ac:chgData name="SAUVAN, Julien" userId="6e0e278e-5964-4c9d-b33f-6a7cf7de2f5c" providerId="ADAL" clId="{5603ED68-73EC-469B-BE1E-4C33A6C93B44}" dt="2019-01-10T14:40:05.532" v="144"/>
          <ac:spMkLst>
            <pc:docMk/>
            <pc:sldMk cId="4059851963" sldId="500"/>
            <ac:spMk id="41" creationId="{F8ED6BA2-AA62-454B-A452-6B87DC7FD503}"/>
          </ac:spMkLst>
        </pc:spChg>
        <pc:spChg chg="add del">
          <ac:chgData name="SAUVAN, Julien" userId="6e0e278e-5964-4c9d-b33f-6a7cf7de2f5c" providerId="ADAL" clId="{5603ED68-73EC-469B-BE1E-4C33A6C93B44}" dt="2019-01-10T14:40:05.532" v="144"/>
          <ac:spMkLst>
            <pc:docMk/>
            <pc:sldMk cId="4059851963" sldId="500"/>
            <ac:spMk id="42" creationId="{3DF34295-028C-4A6D-BEB8-5F5B00B466DC}"/>
          </ac:spMkLst>
        </pc:spChg>
        <pc:spChg chg="add mod">
          <ac:chgData name="SAUVAN, Julien" userId="6e0e278e-5964-4c9d-b33f-6a7cf7de2f5c" providerId="ADAL" clId="{5603ED68-73EC-469B-BE1E-4C33A6C93B44}" dt="2019-01-10T14:40:20.515" v="165" actId="1036"/>
          <ac:spMkLst>
            <pc:docMk/>
            <pc:sldMk cId="4059851963" sldId="500"/>
            <ac:spMk id="51" creationId="{C5473692-A47D-4BF0-BB25-2CE17F72B126}"/>
          </ac:spMkLst>
        </pc:spChg>
        <pc:grpChg chg="del">
          <ac:chgData name="SAUVAN, Julien" userId="6e0e278e-5964-4c9d-b33f-6a7cf7de2f5c" providerId="ADAL" clId="{5603ED68-73EC-469B-BE1E-4C33A6C93B44}" dt="2019-01-10T14:39:30.357" v="127" actId="478"/>
          <ac:grpSpMkLst>
            <pc:docMk/>
            <pc:sldMk cId="4059851963" sldId="500"/>
            <ac:grpSpMk id="26" creationId="{B8102D82-9A64-4B0E-946F-26561CAF1D4B}"/>
          </ac:grpSpMkLst>
        </pc:grpChg>
        <pc:grpChg chg="add mod">
          <ac:chgData name="SAUVAN, Julien" userId="6e0e278e-5964-4c9d-b33f-6a7cf7de2f5c" providerId="ADAL" clId="{5603ED68-73EC-469B-BE1E-4C33A6C93B44}" dt="2019-01-10T14:39:53.340" v="142" actId="1036"/>
          <ac:grpSpMkLst>
            <pc:docMk/>
            <pc:sldMk cId="4059851963" sldId="500"/>
            <ac:grpSpMk id="32" creationId="{B609E107-9FCC-457D-A3C7-5F705E2375B9}"/>
          </ac:grpSpMkLst>
        </pc:grpChg>
        <pc:grpChg chg="add del">
          <ac:chgData name="SAUVAN, Julien" userId="6e0e278e-5964-4c9d-b33f-6a7cf7de2f5c" providerId="ADAL" clId="{5603ED68-73EC-469B-BE1E-4C33A6C93B44}" dt="2019-01-10T14:40:05.532" v="144"/>
          <ac:grpSpMkLst>
            <pc:docMk/>
            <pc:sldMk cId="4059851963" sldId="500"/>
            <ac:grpSpMk id="43" creationId="{E379D95D-BA4F-4F1B-943C-577318DEBB91}"/>
          </ac:grpSpMkLst>
        </pc:grpChg>
        <pc:picChg chg="del">
          <ac:chgData name="SAUVAN, Julien" userId="6e0e278e-5964-4c9d-b33f-6a7cf7de2f5c" providerId="ADAL" clId="{5603ED68-73EC-469B-BE1E-4C33A6C93B44}" dt="2019-01-10T14:39:30.357" v="127" actId="478"/>
          <ac:picMkLst>
            <pc:docMk/>
            <pc:sldMk cId="4059851963" sldId="500"/>
            <ac:picMk id="17" creationId="{71775623-9179-40D7-BB8E-A303E8A8213D}"/>
          </ac:picMkLst>
        </pc:picChg>
        <pc:picChg chg="del">
          <ac:chgData name="SAUVAN, Julien" userId="6e0e278e-5964-4c9d-b33f-6a7cf7de2f5c" providerId="ADAL" clId="{5603ED68-73EC-469B-BE1E-4C33A6C93B44}" dt="2019-01-10T14:39:36.788" v="129" actId="478"/>
          <ac:picMkLst>
            <pc:docMk/>
            <pc:sldMk cId="4059851963" sldId="500"/>
            <ac:picMk id="18" creationId="{C8ED405B-CD04-4C22-911D-AA29996534AC}"/>
          </ac:picMkLst>
        </pc:picChg>
        <pc:picChg chg="del">
          <ac:chgData name="SAUVAN, Julien" userId="6e0e278e-5964-4c9d-b33f-6a7cf7de2f5c" providerId="ADAL" clId="{5603ED68-73EC-469B-BE1E-4C33A6C93B44}" dt="2019-01-10T14:39:30.357" v="127" actId="478"/>
          <ac:picMkLst>
            <pc:docMk/>
            <pc:sldMk cId="4059851963" sldId="500"/>
            <ac:picMk id="19" creationId="{0CEB4A01-3A85-4BAA-A725-401EE607A253}"/>
          </ac:picMkLst>
        </pc:picChg>
        <pc:picChg chg="del">
          <ac:chgData name="SAUVAN, Julien" userId="6e0e278e-5964-4c9d-b33f-6a7cf7de2f5c" providerId="ADAL" clId="{5603ED68-73EC-469B-BE1E-4C33A6C93B44}" dt="2019-01-10T14:39:30.357" v="127" actId="478"/>
          <ac:picMkLst>
            <pc:docMk/>
            <pc:sldMk cId="4059851963" sldId="500"/>
            <ac:picMk id="20" creationId="{3C3B9316-6646-41DA-9670-D1F7281A2A55}"/>
          </ac:picMkLst>
        </pc:picChg>
        <pc:picChg chg="add mod">
          <ac:chgData name="SAUVAN, Julien" userId="6e0e278e-5964-4c9d-b33f-6a7cf7de2f5c" providerId="ADAL" clId="{5603ED68-73EC-469B-BE1E-4C33A6C93B44}" dt="2019-01-10T14:39:53.340" v="142" actId="1036"/>
          <ac:picMkLst>
            <pc:docMk/>
            <pc:sldMk cId="4059851963" sldId="500"/>
            <ac:picMk id="36" creationId="{E8C8C360-8B25-411E-BA59-67CE961B16F0}"/>
          </ac:picMkLst>
        </pc:picChg>
        <pc:picChg chg="add mod">
          <ac:chgData name="SAUVAN, Julien" userId="6e0e278e-5964-4c9d-b33f-6a7cf7de2f5c" providerId="ADAL" clId="{5603ED68-73EC-469B-BE1E-4C33A6C93B44}" dt="2019-01-10T14:39:53.340" v="142" actId="1036"/>
          <ac:picMkLst>
            <pc:docMk/>
            <pc:sldMk cId="4059851963" sldId="500"/>
            <ac:picMk id="37" creationId="{F7156082-EBBA-4793-B6D6-8B4336B4BBC8}"/>
          </ac:picMkLst>
        </pc:picChg>
        <pc:picChg chg="add mod">
          <ac:chgData name="SAUVAN, Julien" userId="6e0e278e-5964-4c9d-b33f-6a7cf7de2f5c" providerId="ADAL" clId="{5603ED68-73EC-469B-BE1E-4C33A6C93B44}" dt="2019-01-10T14:39:53.340" v="142" actId="1036"/>
          <ac:picMkLst>
            <pc:docMk/>
            <pc:sldMk cId="4059851963" sldId="500"/>
            <ac:picMk id="38" creationId="{13B68295-90EC-4ECD-BE6D-8C89F64F7957}"/>
          </ac:picMkLst>
        </pc:picChg>
        <pc:picChg chg="add mod">
          <ac:chgData name="SAUVAN, Julien" userId="6e0e278e-5964-4c9d-b33f-6a7cf7de2f5c" providerId="ADAL" clId="{5603ED68-73EC-469B-BE1E-4C33A6C93B44}" dt="2019-01-10T14:39:53.340" v="142" actId="1036"/>
          <ac:picMkLst>
            <pc:docMk/>
            <pc:sldMk cId="4059851963" sldId="500"/>
            <ac:picMk id="39" creationId="{9CB1AC9D-7AFF-482F-863E-0E45E6375D22}"/>
          </ac:picMkLst>
        </pc:picChg>
        <pc:picChg chg="add del">
          <ac:chgData name="SAUVAN, Julien" userId="6e0e278e-5964-4c9d-b33f-6a7cf7de2f5c" providerId="ADAL" clId="{5603ED68-73EC-469B-BE1E-4C33A6C93B44}" dt="2019-01-10T14:40:05.532" v="144"/>
          <ac:picMkLst>
            <pc:docMk/>
            <pc:sldMk cId="4059851963" sldId="500"/>
            <ac:picMk id="47" creationId="{ED9BBE4B-F6BE-4781-9FD1-C9C37D180469}"/>
          </ac:picMkLst>
        </pc:picChg>
        <pc:picChg chg="add del">
          <ac:chgData name="SAUVAN, Julien" userId="6e0e278e-5964-4c9d-b33f-6a7cf7de2f5c" providerId="ADAL" clId="{5603ED68-73EC-469B-BE1E-4C33A6C93B44}" dt="2019-01-10T14:40:05.532" v="144"/>
          <ac:picMkLst>
            <pc:docMk/>
            <pc:sldMk cId="4059851963" sldId="500"/>
            <ac:picMk id="48" creationId="{56F13ED9-E1DE-484C-8FF0-DA9CB54A1C39}"/>
          </ac:picMkLst>
        </pc:picChg>
        <pc:picChg chg="add del">
          <ac:chgData name="SAUVAN, Julien" userId="6e0e278e-5964-4c9d-b33f-6a7cf7de2f5c" providerId="ADAL" clId="{5603ED68-73EC-469B-BE1E-4C33A6C93B44}" dt="2019-01-10T14:40:05.532" v="144"/>
          <ac:picMkLst>
            <pc:docMk/>
            <pc:sldMk cId="4059851963" sldId="500"/>
            <ac:picMk id="49" creationId="{3FF7D5C7-0DB9-4CB5-8B52-9BB8825C97FE}"/>
          </ac:picMkLst>
        </pc:picChg>
        <pc:picChg chg="add del">
          <ac:chgData name="SAUVAN, Julien" userId="6e0e278e-5964-4c9d-b33f-6a7cf7de2f5c" providerId="ADAL" clId="{5603ED68-73EC-469B-BE1E-4C33A6C93B44}" dt="2019-01-10T14:40:05.532" v="144"/>
          <ac:picMkLst>
            <pc:docMk/>
            <pc:sldMk cId="4059851963" sldId="500"/>
            <ac:picMk id="50" creationId="{4D1CC722-4289-4A9C-A0C5-A995F0763CA8}"/>
          </ac:picMkLst>
        </pc:picChg>
      </pc:sldChg>
      <pc:sldChg chg="addSp delSp modSp add del ord">
        <pc:chgData name="SAUVAN, Julien" userId="6e0e278e-5964-4c9d-b33f-6a7cf7de2f5c" providerId="ADAL" clId="{5603ED68-73EC-469B-BE1E-4C33A6C93B44}" dt="2019-01-14T10:44:22.940" v="6555" actId="2696"/>
        <pc:sldMkLst>
          <pc:docMk/>
          <pc:sldMk cId="3492366959" sldId="501"/>
        </pc:sldMkLst>
        <pc:spChg chg="mod">
          <ac:chgData name="SAUVAN, Julien" userId="6e0e278e-5964-4c9d-b33f-6a7cf7de2f5c" providerId="ADAL" clId="{5603ED68-73EC-469B-BE1E-4C33A6C93B44}" dt="2019-01-10T14:41:28.055" v="199" actId="20577"/>
          <ac:spMkLst>
            <pc:docMk/>
            <pc:sldMk cId="3492366959" sldId="501"/>
            <ac:spMk id="5" creationId="{31F063E0-AED8-4EB3-8D3B-3BE626953929}"/>
          </ac:spMkLst>
        </pc:spChg>
        <pc:spChg chg="del">
          <ac:chgData name="SAUVAN, Julien" userId="6e0e278e-5964-4c9d-b33f-6a7cf7de2f5c" providerId="ADAL" clId="{5603ED68-73EC-469B-BE1E-4C33A6C93B44}" dt="2019-01-10T14:41:36.197" v="200" actId="478"/>
          <ac:spMkLst>
            <pc:docMk/>
            <pc:sldMk cId="3492366959" sldId="501"/>
            <ac:spMk id="6" creationId="{D9256B0C-43B6-4E05-8649-1322665753EA}"/>
          </ac:spMkLst>
        </pc:spChg>
        <pc:spChg chg="del">
          <ac:chgData name="SAUVAN, Julien" userId="6e0e278e-5964-4c9d-b33f-6a7cf7de2f5c" providerId="ADAL" clId="{5603ED68-73EC-469B-BE1E-4C33A6C93B44}" dt="2019-01-10T14:41:36.197" v="200" actId="478"/>
          <ac:spMkLst>
            <pc:docMk/>
            <pc:sldMk cId="3492366959" sldId="501"/>
            <ac:spMk id="9" creationId="{02E4ED7F-FB11-4196-813D-EDFD5885F858}"/>
          </ac:spMkLst>
        </pc:spChg>
        <pc:spChg chg="del">
          <ac:chgData name="SAUVAN, Julien" userId="6e0e278e-5964-4c9d-b33f-6a7cf7de2f5c" providerId="ADAL" clId="{5603ED68-73EC-469B-BE1E-4C33A6C93B44}" dt="2019-01-10T14:41:36.197" v="200" actId="478"/>
          <ac:spMkLst>
            <pc:docMk/>
            <pc:sldMk cId="3492366959" sldId="501"/>
            <ac:spMk id="10" creationId="{836D1D62-F954-41F8-A111-C7B2D5A74C9B}"/>
          </ac:spMkLst>
        </pc:spChg>
        <pc:spChg chg="del">
          <ac:chgData name="SAUVAN, Julien" userId="6e0e278e-5964-4c9d-b33f-6a7cf7de2f5c" providerId="ADAL" clId="{5603ED68-73EC-469B-BE1E-4C33A6C93B44}" dt="2019-01-10T14:41:36.197" v="200" actId="478"/>
          <ac:spMkLst>
            <pc:docMk/>
            <pc:sldMk cId="3492366959" sldId="501"/>
            <ac:spMk id="11" creationId="{9D5A6E46-81A9-41D1-B067-D8C810DA3296}"/>
          </ac:spMkLst>
        </pc:spChg>
        <pc:spChg chg="del">
          <ac:chgData name="SAUVAN, Julien" userId="6e0e278e-5964-4c9d-b33f-6a7cf7de2f5c" providerId="ADAL" clId="{5603ED68-73EC-469B-BE1E-4C33A6C93B44}" dt="2019-01-10T14:41:36.197" v="200" actId="478"/>
          <ac:spMkLst>
            <pc:docMk/>
            <pc:sldMk cId="3492366959" sldId="501"/>
            <ac:spMk id="12" creationId="{7EF88CC6-1D87-4DF7-93DE-4C1503F016ED}"/>
          </ac:spMkLst>
        </pc:spChg>
        <pc:spChg chg="del">
          <ac:chgData name="SAUVAN, Julien" userId="6e0e278e-5964-4c9d-b33f-6a7cf7de2f5c" providerId="ADAL" clId="{5603ED68-73EC-469B-BE1E-4C33A6C93B44}" dt="2019-01-10T14:41:36.197" v="200" actId="478"/>
          <ac:spMkLst>
            <pc:docMk/>
            <pc:sldMk cId="3492366959" sldId="501"/>
            <ac:spMk id="13" creationId="{4FEBDBEB-BBD2-4715-AAAF-BE624AEBDFD4}"/>
          </ac:spMkLst>
        </pc:spChg>
        <pc:spChg chg="add del mod">
          <ac:chgData name="SAUVAN, Julien" userId="6e0e278e-5964-4c9d-b33f-6a7cf7de2f5c" providerId="ADAL" clId="{5603ED68-73EC-469B-BE1E-4C33A6C93B44}" dt="2019-01-10T14:41:52.976" v="203" actId="478"/>
          <ac:spMkLst>
            <pc:docMk/>
            <pc:sldMk cId="3492366959" sldId="501"/>
            <ac:spMk id="17" creationId="{447ACF71-1178-4C8C-B8F5-D607C16BBBF1}"/>
          </ac:spMkLst>
        </pc:spChg>
        <pc:spChg chg="add mod">
          <ac:chgData name="SAUVAN, Julien" userId="6e0e278e-5964-4c9d-b33f-6a7cf7de2f5c" providerId="ADAL" clId="{5603ED68-73EC-469B-BE1E-4C33A6C93B44}" dt="2019-01-10T14:42:02.602" v="205" actId="1076"/>
          <ac:spMkLst>
            <pc:docMk/>
            <pc:sldMk cId="3492366959" sldId="501"/>
            <ac:spMk id="18" creationId="{E172CBBE-4FE6-45D2-9022-2AF63E3DA136}"/>
          </ac:spMkLst>
        </pc:spChg>
        <pc:spChg chg="add mod">
          <ac:chgData name="SAUVAN, Julien" userId="6e0e278e-5964-4c9d-b33f-6a7cf7de2f5c" providerId="ADAL" clId="{5603ED68-73EC-469B-BE1E-4C33A6C93B44}" dt="2019-01-10T14:42:27.588" v="210" actId="1076"/>
          <ac:spMkLst>
            <pc:docMk/>
            <pc:sldMk cId="3492366959" sldId="501"/>
            <ac:spMk id="23" creationId="{EEEC4E0B-41FB-42F0-8EE1-9260A4CDDC16}"/>
          </ac:spMkLst>
        </pc:spChg>
        <pc:spChg chg="add mod">
          <ac:chgData name="SAUVAN, Julien" userId="6e0e278e-5964-4c9d-b33f-6a7cf7de2f5c" providerId="ADAL" clId="{5603ED68-73EC-469B-BE1E-4C33A6C93B44}" dt="2019-01-10T14:42:51.839" v="221" actId="20577"/>
          <ac:spMkLst>
            <pc:docMk/>
            <pc:sldMk cId="3492366959" sldId="501"/>
            <ac:spMk id="24" creationId="{CF6AEE1F-AD0C-473C-AF12-D3CAFD35FDB6}"/>
          </ac:spMkLst>
        </pc:spChg>
        <pc:grpChg chg="add mod">
          <ac:chgData name="SAUVAN, Julien" userId="6e0e278e-5964-4c9d-b33f-6a7cf7de2f5c" providerId="ADAL" clId="{5603ED68-73EC-469B-BE1E-4C33A6C93B44}" dt="2019-01-10T14:42:31.308" v="211" actId="1076"/>
          <ac:grpSpMkLst>
            <pc:docMk/>
            <pc:sldMk cId="3492366959" sldId="501"/>
            <ac:grpSpMk id="19" creationId="{7B2EB321-0A42-40A4-8F01-F35E0907109B}"/>
          </ac:grpSpMkLst>
        </pc:grpChg>
        <pc:picChg chg="add mod">
          <ac:chgData name="SAUVAN, Julien" userId="6e0e278e-5964-4c9d-b33f-6a7cf7de2f5c" providerId="ADAL" clId="{5603ED68-73EC-469B-BE1E-4C33A6C93B44}" dt="2019-01-10T15:07:17.682" v="254" actId="1037"/>
          <ac:picMkLst>
            <pc:docMk/>
            <pc:sldMk cId="3492366959" sldId="501"/>
            <ac:picMk id="3" creationId="{046DED85-7607-4E58-BA7F-E7CA7C6558FF}"/>
          </ac:picMkLst>
        </pc:picChg>
        <pc:picChg chg="del">
          <ac:chgData name="SAUVAN, Julien" userId="6e0e278e-5964-4c9d-b33f-6a7cf7de2f5c" providerId="ADAL" clId="{5603ED68-73EC-469B-BE1E-4C33A6C93B44}" dt="2019-01-10T14:42:09.564" v="207" actId="478"/>
          <ac:picMkLst>
            <pc:docMk/>
            <pc:sldMk cId="3492366959" sldId="501"/>
            <ac:picMk id="22" creationId="{E3D0D01C-C375-4F19-A457-BC04DB5E4CCD}"/>
          </ac:picMkLst>
        </pc:picChg>
        <pc:cxnChg chg="del">
          <ac:chgData name="SAUVAN, Julien" userId="6e0e278e-5964-4c9d-b33f-6a7cf7de2f5c" providerId="ADAL" clId="{5603ED68-73EC-469B-BE1E-4C33A6C93B44}" dt="2019-01-10T14:41:36.197" v="200" actId="478"/>
          <ac:cxnSpMkLst>
            <pc:docMk/>
            <pc:sldMk cId="3492366959" sldId="501"/>
            <ac:cxnSpMk id="14" creationId="{9A171859-794E-4780-A735-37D7E25FAB42}"/>
          </ac:cxnSpMkLst>
        </pc:cxnChg>
        <pc:cxnChg chg="del">
          <ac:chgData name="SAUVAN, Julien" userId="6e0e278e-5964-4c9d-b33f-6a7cf7de2f5c" providerId="ADAL" clId="{5603ED68-73EC-469B-BE1E-4C33A6C93B44}" dt="2019-01-10T14:41:36.197" v="200" actId="478"/>
          <ac:cxnSpMkLst>
            <pc:docMk/>
            <pc:sldMk cId="3492366959" sldId="501"/>
            <ac:cxnSpMk id="15" creationId="{1587D5E2-E525-444F-AD36-E17ECBD4C1A3}"/>
          </ac:cxnSpMkLst>
        </pc:cxnChg>
        <pc:cxnChg chg="del">
          <ac:chgData name="SAUVAN, Julien" userId="6e0e278e-5964-4c9d-b33f-6a7cf7de2f5c" providerId="ADAL" clId="{5603ED68-73EC-469B-BE1E-4C33A6C93B44}" dt="2019-01-10T14:41:36.197" v="200" actId="478"/>
          <ac:cxnSpMkLst>
            <pc:docMk/>
            <pc:sldMk cId="3492366959" sldId="501"/>
            <ac:cxnSpMk id="16" creationId="{F579A455-CCF9-4C26-BDFD-8FB5767E44F4}"/>
          </ac:cxnSpMkLst>
        </pc:cxnChg>
      </pc:sldChg>
      <pc:sldChg chg="addSp delSp modSp add">
        <pc:chgData name="SAUVAN, Julien" userId="6e0e278e-5964-4c9d-b33f-6a7cf7de2f5c" providerId="ADAL" clId="{5603ED68-73EC-469B-BE1E-4C33A6C93B44}" dt="2019-01-11T09:26:14.731" v="1070" actId="208"/>
        <pc:sldMkLst>
          <pc:docMk/>
          <pc:sldMk cId="1065480478" sldId="502"/>
        </pc:sldMkLst>
        <pc:spChg chg="del">
          <ac:chgData name="SAUVAN, Julien" userId="6e0e278e-5964-4c9d-b33f-6a7cf7de2f5c" providerId="ADAL" clId="{5603ED68-73EC-469B-BE1E-4C33A6C93B44}" dt="2019-01-11T09:13:55.294" v="666" actId="478"/>
          <ac:spMkLst>
            <pc:docMk/>
            <pc:sldMk cId="1065480478" sldId="502"/>
            <ac:spMk id="2" creationId="{C3CD5A5B-4330-4AF1-99A8-67C0BF24594B}"/>
          </ac:spMkLst>
        </pc:spChg>
        <pc:spChg chg="del">
          <ac:chgData name="SAUVAN, Julien" userId="6e0e278e-5964-4c9d-b33f-6a7cf7de2f5c" providerId="ADAL" clId="{5603ED68-73EC-469B-BE1E-4C33A6C93B44}" dt="2019-01-11T09:13:49.222" v="665" actId="478"/>
          <ac:spMkLst>
            <pc:docMk/>
            <pc:sldMk cId="1065480478" sldId="502"/>
            <ac:spMk id="6" creationId="{AD1C2582-9144-4F0F-82AF-DF3166965C2E}"/>
          </ac:spMkLst>
        </pc:spChg>
        <pc:spChg chg="add mod">
          <ac:chgData name="SAUVAN, Julien" userId="6e0e278e-5964-4c9d-b33f-6a7cf7de2f5c" providerId="ADAL" clId="{5603ED68-73EC-469B-BE1E-4C33A6C93B44}" dt="2019-01-11T09:23:40.876" v="944" actId="1076"/>
          <ac:spMkLst>
            <pc:docMk/>
            <pc:sldMk cId="1065480478" sldId="502"/>
            <ac:spMk id="7" creationId="{9E114AB1-7FFA-40F0-80BC-23362EF6C2DB}"/>
          </ac:spMkLst>
        </pc:spChg>
        <pc:spChg chg="add mod">
          <ac:chgData name="SAUVAN, Julien" userId="6e0e278e-5964-4c9d-b33f-6a7cf7de2f5c" providerId="ADAL" clId="{5603ED68-73EC-469B-BE1E-4C33A6C93B44}" dt="2019-01-11T09:23:52.211" v="945" actId="1076"/>
          <ac:spMkLst>
            <pc:docMk/>
            <pc:sldMk cId="1065480478" sldId="502"/>
            <ac:spMk id="8" creationId="{53CB50A9-1492-4325-BC52-9466D0CE5610}"/>
          </ac:spMkLst>
        </pc:spChg>
        <pc:spChg chg="add del mod">
          <ac:chgData name="SAUVAN, Julien" userId="6e0e278e-5964-4c9d-b33f-6a7cf7de2f5c" providerId="ADAL" clId="{5603ED68-73EC-469B-BE1E-4C33A6C93B44}" dt="2019-01-11T09:22:56.007" v="941" actId="478"/>
          <ac:spMkLst>
            <pc:docMk/>
            <pc:sldMk cId="1065480478" sldId="502"/>
            <ac:spMk id="9" creationId="{5EB8EE70-5DF4-4711-BD2E-706FEE4E201C}"/>
          </ac:spMkLst>
        </pc:spChg>
        <pc:spChg chg="add mod">
          <ac:chgData name="SAUVAN, Julien" userId="6e0e278e-5964-4c9d-b33f-6a7cf7de2f5c" providerId="ADAL" clId="{5603ED68-73EC-469B-BE1E-4C33A6C93B44}" dt="2019-01-11T09:24:51.894" v="1061" actId="20577"/>
          <ac:spMkLst>
            <pc:docMk/>
            <pc:sldMk cId="1065480478" sldId="502"/>
            <ac:spMk id="10" creationId="{E8075133-5EEB-4B2C-AA3F-DFA0E639B55F}"/>
          </ac:spMkLst>
        </pc:spChg>
        <pc:picChg chg="del">
          <ac:chgData name="SAUVAN, Julien" userId="6e0e278e-5964-4c9d-b33f-6a7cf7de2f5c" providerId="ADAL" clId="{5603ED68-73EC-469B-BE1E-4C33A6C93B44}" dt="2019-01-11T09:13:56.780" v="667" actId="478"/>
          <ac:picMkLst>
            <pc:docMk/>
            <pc:sldMk cId="1065480478" sldId="502"/>
            <ac:picMk id="3" creationId="{DB720613-0933-4FE7-99A7-D2478C9E96CA}"/>
          </ac:picMkLst>
        </pc:picChg>
        <pc:picChg chg="del">
          <ac:chgData name="SAUVAN, Julien" userId="6e0e278e-5964-4c9d-b33f-6a7cf7de2f5c" providerId="ADAL" clId="{5603ED68-73EC-469B-BE1E-4C33A6C93B44}" dt="2019-01-11T09:13:46.955" v="664" actId="478"/>
          <ac:picMkLst>
            <pc:docMk/>
            <pc:sldMk cId="1065480478" sldId="502"/>
            <ac:picMk id="5122" creationId="{585D28A3-7C68-4F40-8F07-0BAB912ABAE5}"/>
          </ac:picMkLst>
        </pc:picChg>
        <pc:cxnChg chg="add mod">
          <ac:chgData name="SAUVAN, Julien" userId="6e0e278e-5964-4c9d-b33f-6a7cf7de2f5c" providerId="ADAL" clId="{5603ED68-73EC-469B-BE1E-4C33A6C93B44}" dt="2019-01-11T09:25:20.270" v="1063" actId="208"/>
          <ac:cxnSpMkLst>
            <pc:docMk/>
            <pc:sldMk cId="1065480478" sldId="502"/>
            <ac:cxnSpMk id="12" creationId="{604B0538-146B-4627-AB87-327636E9F2A3}"/>
          </ac:cxnSpMkLst>
        </pc:cxnChg>
        <pc:cxnChg chg="add mod">
          <ac:chgData name="SAUVAN, Julien" userId="6e0e278e-5964-4c9d-b33f-6a7cf7de2f5c" providerId="ADAL" clId="{5603ED68-73EC-469B-BE1E-4C33A6C93B44}" dt="2019-01-11T09:25:36.050" v="1065" actId="208"/>
          <ac:cxnSpMkLst>
            <pc:docMk/>
            <pc:sldMk cId="1065480478" sldId="502"/>
            <ac:cxnSpMk id="14" creationId="{B22DF097-9D3E-4379-9000-E080647BD6DD}"/>
          </ac:cxnSpMkLst>
        </pc:cxnChg>
        <pc:cxnChg chg="add mod">
          <ac:chgData name="SAUVAN, Julien" userId="6e0e278e-5964-4c9d-b33f-6a7cf7de2f5c" providerId="ADAL" clId="{5603ED68-73EC-469B-BE1E-4C33A6C93B44}" dt="2019-01-11T09:25:48.023" v="1067" actId="208"/>
          <ac:cxnSpMkLst>
            <pc:docMk/>
            <pc:sldMk cId="1065480478" sldId="502"/>
            <ac:cxnSpMk id="16" creationId="{87B650AA-8FCF-4420-AF39-0848E3004CFC}"/>
          </ac:cxnSpMkLst>
        </pc:cxnChg>
        <pc:cxnChg chg="add mod">
          <ac:chgData name="SAUVAN, Julien" userId="6e0e278e-5964-4c9d-b33f-6a7cf7de2f5c" providerId="ADAL" clId="{5603ED68-73EC-469B-BE1E-4C33A6C93B44}" dt="2019-01-11T09:26:14.731" v="1070" actId="208"/>
          <ac:cxnSpMkLst>
            <pc:docMk/>
            <pc:sldMk cId="1065480478" sldId="502"/>
            <ac:cxnSpMk id="18" creationId="{87C33538-D7A4-4698-B844-AC54063E2A5A}"/>
          </ac:cxnSpMkLst>
        </pc:cxnChg>
      </pc:sldChg>
      <pc:sldChg chg="addSp delSp modSp add">
        <pc:chgData name="SAUVAN, Julien" userId="6e0e278e-5964-4c9d-b33f-6a7cf7de2f5c" providerId="ADAL" clId="{5603ED68-73EC-469B-BE1E-4C33A6C93B44}" dt="2019-01-12T18:14:13.890" v="6552" actId="20577"/>
        <pc:sldMkLst>
          <pc:docMk/>
          <pc:sldMk cId="145844443" sldId="503"/>
        </pc:sldMkLst>
        <pc:spChg chg="del">
          <ac:chgData name="SAUVAN, Julien" userId="6e0e278e-5964-4c9d-b33f-6a7cf7de2f5c" providerId="ADAL" clId="{5603ED68-73EC-469B-BE1E-4C33A6C93B44}" dt="2019-01-11T09:28:43.463" v="1072" actId="478"/>
          <ac:spMkLst>
            <pc:docMk/>
            <pc:sldMk cId="145844443" sldId="503"/>
            <ac:spMk id="4" creationId="{A91635E3-F78F-4A55-A715-6B1D7AF40466}"/>
          </ac:spMkLst>
        </pc:spChg>
        <pc:spChg chg="del">
          <ac:chgData name="SAUVAN, Julien" userId="6e0e278e-5964-4c9d-b33f-6a7cf7de2f5c" providerId="ADAL" clId="{5603ED68-73EC-469B-BE1E-4C33A6C93B44}" dt="2019-01-11T09:28:45.420" v="1073" actId="478"/>
          <ac:spMkLst>
            <pc:docMk/>
            <pc:sldMk cId="145844443" sldId="503"/>
            <ac:spMk id="7" creationId="{9E114AB1-7FFA-40F0-80BC-23362EF6C2DB}"/>
          </ac:spMkLst>
        </pc:spChg>
        <pc:spChg chg="del">
          <ac:chgData name="SAUVAN, Julien" userId="6e0e278e-5964-4c9d-b33f-6a7cf7de2f5c" providerId="ADAL" clId="{5603ED68-73EC-469B-BE1E-4C33A6C93B44}" dt="2019-01-11T09:28:54.430" v="1075" actId="478"/>
          <ac:spMkLst>
            <pc:docMk/>
            <pc:sldMk cId="145844443" sldId="503"/>
            <ac:spMk id="8" creationId="{53CB50A9-1492-4325-BC52-9466D0CE5610}"/>
          </ac:spMkLst>
        </pc:spChg>
        <pc:spChg chg="del">
          <ac:chgData name="SAUVAN, Julien" userId="6e0e278e-5964-4c9d-b33f-6a7cf7de2f5c" providerId="ADAL" clId="{5603ED68-73EC-469B-BE1E-4C33A6C93B44}" dt="2019-01-11T09:28:50.067" v="1074" actId="478"/>
          <ac:spMkLst>
            <pc:docMk/>
            <pc:sldMk cId="145844443" sldId="503"/>
            <ac:spMk id="10" creationId="{E8075133-5EEB-4B2C-AA3F-DFA0E639B55F}"/>
          </ac:spMkLst>
        </pc:spChg>
        <pc:graphicFrameChg chg="add del mod modGraphic">
          <ac:chgData name="SAUVAN, Julien" userId="6e0e278e-5964-4c9d-b33f-6a7cf7de2f5c" providerId="ADAL" clId="{5603ED68-73EC-469B-BE1E-4C33A6C93B44}" dt="2019-01-11T09:29:52.011" v="1086" actId="478"/>
          <ac:graphicFrameMkLst>
            <pc:docMk/>
            <pc:sldMk cId="145844443" sldId="503"/>
            <ac:graphicFrameMk id="2" creationId="{933A3F9F-31F5-478C-B09E-3EB4F9540246}"/>
          </ac:graphicFrameMkLst>
        </pc:graphicFrameChg>
        <pc:graphicFrameChg chg="add mod modGraphic">
          <ac:chgData name="SAUVAN, Julien" userId="6e0e278e-5964-4c9d-b33f-6a7cf7de2f5c" providerId="ADAL" clId="{5603ED68-73EC-469B-BE1E-4C33A6C93B44}" dt="2019-01-12T18:14:13.890" v="6552" actId="20577"/>
          <ac:graphicFrameMkLst>
            <pc:docMk/>
            <pc:sldMk cId="145844443" sldId="503"/>
            <ac:graphicFrameMk id="3" creationId="{16113BCD-812B-4F1E-8195-7EBB2A0D37C0}"/>
          </ac:graphicFrameMkLst>
        </pc:graphicFrameChg>
        <pc:graphicFrameChg chg="add mod modGraphic">
          <ac:chgData name="SAUVAN, Julien" userId="6e0e278e-5964-4c9d-b33f-6a7cf7de2f5c" providerId="ADAL" clId="{5603ED68-73EC-469B-BE1E-4C33A6C93B44}" dt="2019-01-11T10:07:26.894" v="1343" actId="122"/>
          <ac:graphicFrameMkLst>
            <pc:docMk/>
            <pc:sldMk cId="145844443" sldId="503"/>
            <ac:graphicFrameMk id="6" creationId="{E39DF820-171A-40F5-B505-98DA175733D5}"/>
          </ac:graphicFrameMkLst>
        </pc:graphicFrameChg>
        <pc:cxnChg chg="del">
          <ac:chgData name="SAUVAN, Julien" userId="6e0e278e-5964-4c9d-b33f-6a7cf7de2f5c" providerId="ADAL" clId="{5603ED68-73EC-469B-BE1E-4C33A6C93B44}" dt="2019-01-11T09:28:50.067" v="1074" actId="478"/>
          <ac:cxnSpMkLst>
            <pc:docMk/>
            <pc:sldMk cId="145844443" sldId="503"/>
            <ac:cxnSpMk id="12" creationId="{604B0538-146B-4627-AB87-327636E9F2A3}"/>
          </ac:cxnSpMkLst>
        </pc:cxnChg>
        <pc:cxnChg chg="del">
          <ac:chgData name="SAUVAN, Julien" userId="6e0e278e-5964-4c9d-b33f-6a7cf7de2f5c" providerId="ADAL" clId="{5603ED68-73EC-469B-BE1E-4C33A6C93B44}" dt="2019-01-11T09:28:50.067" v="1074" actId="478"/>
          <ac:cxnSpMkLst>
            <pc:docMk/>
            <pc:sldMk cId="145844443" sldId="503"/>
            <ac:cxnSpMk id="14" creationId="{B22DF097-9D3E-4379-9000-E080647BD6DD}"/>
          </ac:cxnSpMkLst>
        </pc:cxnChg>
        <pc:cxnChg chg="del">
          <ac:chgData name="SAUVAN, Julien" userId="6e0e278e-5964-4c9d-b33f-6a7cf7de2f5c" providerId="ADAL" clId="{5603ED68-73EC-469B-BE1E-4C33A6C93B44}" dt="2019-01-11T09:28:50.067" v="1074" actId="478"/>
          <ac:cxnSpMkLst>
            <pc:docMk/>
            <pc:sldMk cId="145844443" sldId="503"/>
            <ac:cxnSpMk id="16" creationId="{87B650AA-8FCF-4420-AF39-0848E3004CFC}"/>
          </ac:cxnSpMkLst>
        </pc:cxnChg>
        <pc:cxnChg chg="del">
          <ac:chgData name="SAUVAN, Julien" userId="6e0e278e-5964-4c9d-b33f-6a7cf7de2f5c" providerId="ADAL" clId="{5603ED68-73EC-469B-BE1E-4C33A6C93B44}" dt="2019-01-11T09:28:50.067" v="1074" actId="478"/>
          <ac:cxnSpMkLst>
            <pc:docMk/>
            <pc:sldMk cId="145844443" sldId="503"/>
            <ac:cxnSpMk id="18" creationId="{87C33538-D7A4-4698-B844-AC54063E2A5A}"/>
          </ac:cxnSpMkLst>
        </pc:cxnChg>
      </pc:sldChg>
      <pc:sldChg chg="addSp delSp modSp add">
        <pc:chgData name="SAUVAN, Julien" userId="6e0e278e-5964-4c9d-b33f-6a7cf7de2f5c" providerId="ADAL" clId="{5603ED68-73EC-469B-BE1E-4C33A6C93B44}" dt="2019-01-11T10:15:43.667" v="1403" actId="115"/>
        <pc:sldMkLst>
          <pc:docMk/>
          <pc:sldMk cId="103440370" sldId="504"/>
        </pc:sldMkLst>
        <pc:spChg chg="add mod">
          <ac:chgData name="SAUVAN, Julien" userId="6e0e278e-5964-4c9d-b33f-6a7cf7de2f5c" providerId="ADAL" clId="{5603ED68-73EC-469B-BE1E-4C33A6C93B44}" dt="2019-01-11T10:15:43.667" v="1403" actId="115"/>
          <ac:spMkLst>
            <pc:docMk/>
            <pc:sldMk cId="103440370" sldId="504"/>
            <ac:spMk id="2" creationId="{014F9385-46E6-415A-9488-D1DE29600082}"/>
          </ac:spMkLst>
        </pc:spChg>
        <pc:spChg chg="add mod">
          <ac:chgData name="SAUVAN, Julien" userId="6e0e278e-5964-4c9d-b33f-6a7cf7de2f5c" providerId="ADAL" clId="{5603ED68-73EC-469B-BE1E-4C33A6C93B44}" dt="2019-01-11T10:12:15.659" v="1360" actId="20577"/>
          <ac:spMkLst>
            <pc:docMk/>
            <pc:sldMk cId="103440370" sldId="504"/>
            <ac:spMk id="7" creationId="{0A51D7D0-A63B-4B35-B3B5-9805FF04A2B4}"/>
          </ac:spMkLst>
        </pc:spChg>
        <pc:graphicFrameChg chg="del">
          <ac:chgData name="SAUVAN, Julien" userId="6e0e278e-5964-4c9d-b33f-6a7cf7de2f5c" providerId="ADAL" clId="{5603ED68-73EC-469B-BE1E-4C33A6C93B44}" dt="2019-01-11T10:11:16.120" v="1345" actId="478"/>
          <ac:graphicFrameMkLst>
            <pc:docMk/>
            <pc:sldMk cId="103440370" sldId="504"/>
            <ac:graphicFrameMk id="3" creationId="{16113BCD-812B-4F1E-8195-7EBB2A0D37C0}"/>
          </ac:graphicFrameMkLst>
        </pc:graphicFrameChg>
        <pc:graphicFrameChg chg="del">
          <ac:chgData name="SAUVAN, Julien" userId="6e0e278e-5964-4c9d-b33f-6a7cf7de2f5c" providerId="ADAL" clId="{5603ED68-73EC-469B-BE1E-4C33A6C93B44}" dt="2019-01-11T10:11:18.534" v="1346" actId="478"/>
          <ac:graphicFrameMkLst>
            <pc:docMk/>
            <pc:sldMk cId="103440370" sldId="504"/>
            <ac:graphicFrameMk id="6" creationId="{E39DF820-171A-40F5-B505-98DA175733D5}"/>
          </ac:graphicFrameMkLst>
        </pc:graphicFrameChg>
      </pc:sldChg>
      <pc:sldChg chg="modSp add">
        <pc:chgData name="SAUVAN, Julien" userId="6e0e278e-5964-4c9d-b33f-6a7cf7de2f5c" providerId="ADAL" clId="{5603ED68-73EC-469B-BE1E-4C33A6C93B44}" dt="2019-01-11T10:19:03.893" v="1616" actId="20577"/>
        <pc:sldMkLst>
          <pc:docMk/>
          <pc:sldMk cId="2254855022" sldId="505"/>
        </pc:sldMkLst>
        <pc:spChg chg="mod">
          <ac:chgData name="SAUVAN, Julien" userId="6e0e278e-5964-4c9d-b33f-6a7cf7de2f5c" providerId="ADAL" clId="{5603ED68-73EC-469B-BE1E-4C33A6C93B44}" dt="2019-01-11T10:19:03.893" v="1616" actId="20577"/>
          <ac:spMkLst>
            <pc:docMk/>
            <pc:sldMk cId="2254855022" sldId="505"/>
            <ac:spMk id="2" creationId="{014F9385-46E6-415A-9488-D1DE29600082}"/>
          </ac:spMkLst>
        </pc:spChg>
      </pc:sldChg>
      <pc:sldChg chg="addSp modSp add">
        <pc:chgData name="SAUVAN, Julien" userId="6e0e278e-5964-4c9d-b33f-6a7cf7de2f5c" providerId="ADAL" clId="{5603ED68-73EC-469B-BE1E-4C33A6C93B44}" dt="2019-01-11T10:26:50.705" v="1983" actId="20577"/>
        <pc:sldMkLst>
          <pc:docMk/>
          <pc:sldMk cId="2092867739" sldId="506"/>
        </pc:sldMkLst>
        <pc:spChg chg="mod">
          <ac:chgData name="SAUVAN, Julien" userId="6e0e278e-5964-4c9d-b33f-6a7cf7de2f5c" providerId="ADAL" clId="{5603ED68-73EC-469B-BE1E-4C33A6C93B44}" dt="2019-01-11T10:26:50.705" v="1983" actId="20577"/>
          <ac:spMkLst>
            <pc:docMk/>
            <pc:sldMk cId="2092867739" sldId="506"/>
            <ac:spMk id="2" creationId="{014F9385-46E6-415A-9488-D1DE29600082}"/>
          </ac:spMkLst>
        </pc:spChg>
        <pc:spChg chg="mod">
          <ac:chgData name="SAUVAN, Julien" userId="6e0e278e-5964-4c9d-b33f-6a7cf7de2f5c" providerId="ADAL" clId="{5603ED68-73EC-469B-BE1E-4C33A6C93B44}" dt="2019-01-11T10:19:32.666" v="1621" actId="20577"/>
          <ac:spMkLst>
            <pc:docMk/>
            <pc:sldMk cId="2092867739" sldId="506"/>
            <ac:spMk id="7" creationId="{0A51D7D0-A63B-4B35-B3B5-9805FF04A2B4}"/>
          </ac:spMkLst>
        </pc:spChg>
        <pc:picChg chg="add mod">
          <ac:chgData name="SAUVAN, Julien" userId="6e0e278e-5964-4c9d-b33f-6a7cf7de2f5c" providerId="ADAL" clId="{5603ED68-73EC-469B-BE1E-4C33A6C93B44}" dt="2019-01-11T10:25:22.020" v="1973" actId="1076"/>
          <ac:picMkLst>
            <pc:docMk/>
            <pc:sldMk cId="2092867739" sldId="506"/>
            <ac:picMk id="4" creationId="{914E9142-9F3D-4BAD-94B1-4F0AD0E882B3}"/>
          </ac:picMkLst>
        </pc:picChg>
      </pc:sldChg>
      <pc:sldChg chg="addSp delSp modSp add ord">
        <pc:chgData name="SAUVAN, Julien" userId="6e0e278e-5964-4c9d-b33f-6a7cf7de2f5c" providerId="ADAL" clId="{5603ED68-73EC-469B-BE1E-4C33A6C93B44}" dt="2019-01-11T17:44:49.451" v="3741" actId="2711"/>
        <pc:sldMkLst>
          <pc:docMk/>
          <pc:sldMk cId="193953356" sldId="507"/>
        </pc:sldMkLst>
        <pc:spChg chg="del">
          <ac:chgData name="SAUVAN, Julien" userId="6e0e278e-5964-4c9d-b33f-6a7cf7de2f5c" providerId="ADAL" clId="{5603ED68-73EC-469B-BE1E-4C33A6C93B44}" dt="2019-01-11T14:28:26.748" v="2968" actId="478"/>
          <ac:spMkLst>
            <pc:docMk/>
            <pc:sldMk cId="193953356" sldId="507"/>
            <ac:spMk id="2" creationId="{791243E9-38C7-4C03-9A20-607B156A985A}"/>
          </ac:spMkLst>
        </pc:spChg>
        <pc:spChg chg="del">
          <ac:chgData name="SAUVAN, Julien" userId="6e0e278e-5964-4c9d-b33f-6a7cf7de2f5c" providerId="ADAL" clId="{5603ED68-73EC-469B-BE1E-4C33A6C93B44}" dt="2019-01-11T14:28:26.748" v="2968" actId="478"/>
          <ac:spMkLst>
            <pc:docMk/>
            <pc:sldMk cId="193953356" sldId="507"/>
            <ac:spMk id="4" creationId="{8C76A8BC-23DA-409D-81EB-D8FE9BB94469}"/>
          </ac:spMkLst>
        </pc:spChg>
        <pc:spChg chg="del">
          <ac:chgData name="SAUVAN, Julien" userId="6e0e278e-5964-4c9d-b33f-6a7cf7de2f5c" providerId="ADAL" clId="{5603ED68-73EC-469B-BE1E-4C33A6C93B44}" dt="2019-01-11T14:28:26.748" v="2968" actId="478"/>
          <ac:spMkLst>
            <pc:docMk/>
            <pc:sldMk cId="193953356" sldId="507"/>
            <ac:spMk id="6" creationId="{9E5F4DA9-5BC2-4F13-9325-B2EF45E6BCDC}"/>
          </ac:spMkLst>
        </pc:spChg>
        <pc:spChg chg="del">
          <ac:chgData name="SAUVAN, Julien" userId="6e0e278e-5964-4c9d-b33f-6a7cf7de2f5c" providerId="ADAL" clId="{5603ED68-73EC-469B-BE1E-4C33A6C93B44}" dt="2019-01-11T14:28:26.748" v="2968" actId="478"/>
          <ac:spMkLst>
            <pc:docMk/>
            <pc:sldMk cId="193953356" sldId="507"/>
            <ac:spMk id="7" creationId="{10DC59A7-A8DC-4551-AC6A-854AB3E981E3}"/>
          </ac:spMkLst>
        </pc:spChg>
        <pc:spChg chg="add mod">
          <ac:chgData name="SAUVAN, Julien" userId="6e0e278e-5964-4c9d-b33f-6a7cf7de2f5c" providerId="ADAL" clId="{5603ED68-73EC-469B-BE1E-4C33A6C93B44}" dt="2019-01-11T17:39:59.730" v="3540" actId="20577"/>
          <ac:spMkLst>
            <pc:docMk/>
            <pc:sldMk cId="193953356" sldId="507"/>
            <ac:spMk id="11" creationId="{490A7003-7B8A-4569-BA65-AF4220C30432}"/>
          </ac:spMkLst>
        </pc:spChg>
        <pc:spChg chg="add mod">
          <ac:chgData name="SAUVAN, Julien" userId="6e0e278e-5964-4c9d-b33f-6a7cf7de2f5c" providerId="ADAL" clId="{5603ED68-73EC-469B-BE1E-4C33A6C93B44}" dt="2019-01-11T17:44:49.451" v="3741" actId="2711"/>
          <ac:spMkLst>
            <pc:docMk/>
            <pc:sldMk cId="193953356" sldId="507"/>
            <ac:spMk id="14" creationId="{FAAE37BB-66DA-43D4-8214-9534B06825B6}"/>
          </ac:spMkLst>
        </pc:spChg>
        <pc:spChg chg="add del">
          <ac:chgData name="SAUVAN, Julien" userId="6e0e278e-5964-4c9d-b33f-6a7cf7de2f5c" providerId="ADAL" clId="{5603ED68-73EC-469B-BE1E-4C33A6C93B44}" dt="2019-01-11T17:42:28.387" v="3616"/>
          <ac:spMkLst>
            <pc:docMk/>
            <pc:sldMk cId="193953356" sldId="507"/>
            <ac:spMk id="15" creationId="{83893C9D-E210-4BA9-9CAC-FB05949F321A}"/>
          </ac:spMkLst>
        </pc:spChg>
        <pc:picChg chg="del">
          <ac:chgData name="SAUVAN, Julien" userId="6e0e278e-5964-4c9d-b33f-6a7cf7de2f5c" providerId="ADAL" clId="{5603ED68-73EC-469B-BE1E-4C33A6C93B44}" dt="2019-01-11T14:28:26.748" v="2968" actId="478"/>
          <ac:picMkLst>
            <pc:docMk/>
            <pc:sldMk cId="193953356" sldId="507"/>
            <ac:picMk id="3" creationId="{169AF527-1E2F-4AA3-AAFA-24B9B69B7E70}"/>
          </ac:picMkLst>
        </pc:picChg>
        <pc:picChg chg="del">
          <ac:chgData name="SAUVAN, Julien" userId="6e0e278e-5964-4c9d-b33f-6a7cf7de2f5c" providerId="ADAL" clId="{5603ED68-73EC-469B-BE1E-4C33A6C93B44}" dt="2019-01-11T14:28:26.748" v="2968" actId="478"/>
          <ac:picMkLst>
            <pc:docMk/>
            <pc:sldMk cId="193953356" sldId="507"/>
            <ac:picMk id="8" creationId="{2E017000-1419-4922-B3C6-45A6F5E54C71}"/>
          </ac:picMkLst>
        </pc:picChg>
        <pc:picChg chg="add mod">
          <ac:chgData name="SAUVAN, Julien" userId="6e0e278e-5964-4c9d-b33f-6a7cf7de2f5c" providerId="ADAL" clId="{5603ED68-73EC-469B-BE1E-4C33A6C93B44}" dt="2019-01-11T17:25:48.970" v="2970" actId="1076"/>
          <ac:picMkLst>
            <pc:docMk/>
            <pc:sldMk cId="193953356" sldId="507"/>
            <ac:picMk id="10" creationId="{7117C3E5-F5DE-49B9-81AB-34FB0DB4260D}"/>
          </ac:picMkLst>
        </pc:picChg>
        <pc:picChg chg="add mod">
          <ac:chgData name="SAUVAN, Julien" userId="6e0e278e-5964-4c9d-b33f-6a7cf7de2f5c" providerId="ADAL" clId="{5603ED68-73EC-469B-BE1E-4C33A6C93B44}" dt="2019-01-11T17:41:32.250" v="3545" actId="207"/>
          <ac:picMkLst>
            <pc:docMk/>
            <pc:sldMk cId="193953356" sldId="507"/>
            <ac:picMk id="13" creationId="{BBAE3C52-8CD7-4F85-A9FA-DD06A88769C6}"/>
          </ac:picMkLst>
        </pc:picChg>
      </pc:sldChg>
      <pc:sldChg chg="addSp delSp modSp add">
        <pc:chgData name="SAUVAN, Julien" userId="6e0e278e-5964-4c9d-b33f-6a7cf7de2f5c" providerId="ADAL" clId="{5603ED68-73EC-469B-BE1E-4C33A6C93B44}" dt="2019-01-12T17:24:20.502" v="4758" actId="207"/>
        <pc:sldMkLst>
          <pc:docMk/>
          <pc:sldMk cId="1563115552" sldId="508"/>
        </pc:sldMkLst>
        <pc:spChg chg="del">
          <ac:chgData name="SAUVAN, Julien" userId="6e0e278e-5964-4c9d-b33f-6a7cf7de2f5c" providerId="ADAL" clId="{5603ED68-73EC-469B-BE1E-4C33A6C93B44}" dt="2019-01-12T15:29:06.770" v="3745" actId="478"/>
          <ac:spMkLst>
            <pc:docMk/>
            <pc:sldMk cId="1563115552" sldId="508"/>
            <ac:spMk id="4" creationId="{A91635E3-F78F-4A55-A715-6B1D7AF40466}"/>
          </ac:spMkLst>
        </pc:spChg>
        <pc:spChg chg="add mod">
          <ac:chgData name="SAUVAN, Julien" userId="6e0e278e-5964-4c9d-b33f-6a7cf7de2f5c" providerId="ADAL" clId="{5603ED68-73EC-469B-BE1E-4C33A6C93B44}" dt="2019-01-12T17:20:49.843" v="4608" actId="207"/>
          <ac:spMkLst>
            <pc:docMk/>
            <pc:sldMk cId="1563115552" sldId="508"/>
            <ac:spMk id="9" creationId="{0566F7F7-9D55-419B-8180-3F5B486E2D2D}"/>
          </ac:spMkLst>
        </pc:spChg>
        <pc:spChg chg="add mod">
          <ac:chgData name="SAUVAN, Julien" userId="6e0e278e-5964-4c9d-b33f-6a7cf7de2f5c" providerId="ADAL" clId="{5603ED68-73EC-469B-BE1E-4C33A6C93B44}" dt="2019-01-12T17:24:20.502" v="4758" actId="207"/>
          <ac:spMkLst>
            <pc:docMk/>
            <pc:sldMk cId="1563115552" sldId="508"/>
            <ac:spMk id="10" creationId="{2B06A287-3105-47B3-A5DB-F7AB10CC9FE7}"/>
          </ac:spMkLst>
        </pc:spChg>
        <pc:spChg chg="add mod">
          <ac:chgData name="SAUVAN, Julien" userId="6e0e278e-5964-4c9d-b33f-6a7cf7de2f5c" providerId="ADAL" clId="{5603ED68-73EC-469B-BE1E-4C33A6C93B44}" dt="2019-01-12T17:18:39.800" v="4548" actId="1076"/>
          <ac:spMkLst>
            <pc:docMk/>
            <pc:sldMk cId="1563115552" sldId="508"/>
            <ac:spMk id="11" creationId="{7AE6D114-A1DA-49B8-9B64-738389E9C3CB}"/>
          </ac:spMkLst>
        </pc:spChg>
        <pc:spChg chg="add mod">
          <ac:chgData name="SAUVAN, Julien" userId="6e0e278e-5964-4c9d-b33f-6a7cf7de2f5c" providerId="ADAL" clId="{5603ED68-73EC-469B-BE1E-4C33A6C93B44}" dt="2019-01-12T17:20:28.100" v="4603" actId="114"/>
          <ac:spMkLst>
            <pc:docMk/>
            <pc:sldMk cId="1563115552" sldId="508"/>
            <ac:spMk id="14" creationId="{779EE91B-8F4F-4CB2-A8C3-5E89DD57F57D}"/>
          </ac:spMkLst>
        </pc:spChg>
        <pc:picChg chg="del">
          <ac:chgData name="SAUVAN, Julien" userId="6e0e278e-5964-4c9d-b33f-6a7cf7de2f5c" providerId="ADAL" clId="{5603ED68-73EC-469B-BE1E-4C33A6C93B44}" dt="2019-01-12T15:29:01.761" v="3744" actId="478"/>
          <ac:picMkLst>
            <pc:docMk/>
            <pc:sldMk cId="1563115552" sldId="508"/>
            <ac:picMk id="3" creationId="{BC8DBE2C-8751-4056-B696-664C1DD89F04}"/>
          </ac:picMkLst>
        </pc:picChg>
        <pc:picChg chg="add del mod">
          <ac:chgData name="SAUVAN, Julien" userId="6e0e278e-5964-4c9d-b33f-6a7cf7de2f5c" providerId="ADAL" clId="{5603ED68-73EC-469B-BE1E-4C33A6C93B44}" dt="2019-01-12T15:37:38.160" v="3966"/>
          <ac:picMkLst>
            <pc:docMk/>
            <pc:sldMk cId="1563115552" sldId="508"/>
            <ac:picMk id="6" creationId="{261119A0-1D96-4DD6-8533-6CE8AC7AEB05}"/>
          </ac:picMkLst>
        </pc:picChg>
        <pc:picChg chg="del">
          <ac:chgData name="SAUVAN, Julien" userId="6e0e278e-5964-4c9d-b33f-6a7cf7de2f5c" providerId="ADAL" clId="{5603ED68-73EC-469B-BE1E-4C33A6C93B44}" dt="2019-01-12T15:29:09.815" v="3746" actId="478"/>
          <ac:picMkLst>
            <pc:docMk/>
            <pc:sldMk cId="1563115552" sldId="508"/>
            <ac:picMk id="7" creationId="{3C7CBB88-E496-4595-ACA5-B03EF8D22EE4}"/>
          </ac:picMkLst>
        </pc:picChg>
        <pc:picChg chg="add mod">
          <ac:chgData name="SAUVAN, Julien" userId="6e0e278e-5964-4c9d-b33f-6a7cf7de2f5c" providerId="ADAL" clId="{5603ED68-73EC-469B-BE1E-4C33A6C93B44}" dt="2019-01-12T15:53:38.723" v="4391" actId="1076"/>
          <ac:picMkLst>
            <pc:docMk/>
            <pc:sldMk cId="1563115552" sldId="508"/>
            <ac:picMk id="8" creationId="{23A9EEA9-1808-4B59-903E-1A55DCB4418D}"/>
          </ac:picMkLst>
        </pc:picChg>
        <pc:picChg chg="add mod">
          <ac:chgData name="SAUVAN, Julien" userId="6e0e278e-5964-4c9d-b33f-6a7cf7de2f5c" providerId="ADAL" clId="{5603ED68-73EC-469B-BE1E-4C33A6C93B44}" dt="2019-01-12T17:18:01.793" v="4545" actId="1076"/>
          <ac:picMkLst>
            <pc:docMk/>
            <pc:sldMk cId="1563115552" sldId="508"/>
            <ac:picMk id="13" creationId="{BA7D95D6-932F-4A91-9678-6C1E8E890AFE}"/>
          </ac:picMkLst>
        </pc:picChg>
      </pc:sldChg>
      <pc:sldChg chg="addSp delSp modSp add">
        <pc:chgData name="SAUVAN, Julien" userId="6e0e278e-5964-4c9d-b33f-6a7cf7de2f5c" providerId="ADAL" clId="{5603ED68-73EC-469B-BE1E-4C33A6C93B44}" dt="2019-01-12T17:28:46.856" v="5180" actId="1076"/>
        <pc:sldMkLst>
          <pc:docMk/>
          <pc:sldMk cId="2718674449" sldId="509"/>
        </pc:sldMkLst>
        <pc:spChg chg="add mod">
          <ac:chgData name="SAUVAN, Julien" userId="6e0e278e-5964-4c9d-b33f-6a7cf7de2f5c" providerId="ADAL" clId="{5603ED68-73EC-469B-BE1E-4C33A6C93B44}" dt="2019-01-12T17:23:25.540" v="4721" actId="14100"/>
          <ac:spMkLst>
            <pc:docMk/>
            <pc:sldMk cId="2718674449" sldId="509"/>
            <ac:spMk id="4" creationId="{5E110BB1-53D1-4DE1-B701-14DF7F003906}"/>
          </ac:spMkLst>
        </pc:spChg>
        <pc:spChg chg="mod">
          <ac:chgData name="SAUVAN, Julien" userId="6e0e278e-5964-4c9d-b33f-6a7cf7de2f5c" providerId="ADAL" clId="{5603ED68-73EC-469B-BE1E-4C33A6C93B44}" dt="2019-01-12T17:21:06.602" v="4609" actId="1076"/>
          <ac:spMkLst>
            <pc:docMk/>
            <pc:sldMk cId="2718674449" sldId="509"/>
            <ac:spMk id="5" creationId="{31F063E0-AED8-4EB3-8D3B-3BE626953929}"/>
          </ac:spMkLst>
        </pc:spChg>
        <pc:spChg chg="del">
          <ac:chgData name="SAUVAN, Julien" userId="6e0e278e-5964-4c9d-b33f-6a7cf7de2f5c" providerId="ADAL" clId="{5603ED68-73EC-469B-BE1E-4C33A6C93B44}" dt="2019-01-12T17:21:10.438" v="4610" actId="478"/>
          <ac:spMkLst>
            <pc:docMk/>
            <pc:sldMk cId="2718674449" sldId="509"/>
            <ac:spMk id="9" creationId="{0566F7F7-9D55-419B-8180-3F5B486E2D2D}"/>
          </ac:spMkLst>
        </pc:spChg>
        <pc:spChg chg="del">
          <ac:chgData name="SAUVAN, Julien" userId="6e0e278e-5964-4c9d-b33f-6a7cf7de2f5c" providerId="ADAL" clId="{5603ED68-73EC-469B-BE1E-4C33A6C93B44}" dt="2019-01-12T17:21:10.438" v="4610" actId="478"/>
          <ac:spMkLst>
            <pc:docMk/>
            <pc:sldMk cId="2718674449" sldId="509"/>
            <ac:spMk id="10" creationId="{2B06A287-3105-47B3-A5DB-F7AB10CC9FE7}"/>
          </ac:spMkLst>
        </pc:spChg>
        <pc:spChg chg="del">
          <ac:chgData name="SAUVAN, Julien" userId="6e0e278e-5964-4c9d-b33f-6a7cf7de2f5c" providerId="ADAL" clId="{5603ED68-73EC-469B-BE1E-4C33A6C93B44}" dt="2019-01-12T17:21:10.438" v="4610" actId="478"/>
          <ac:spMkLst>
            <pc:docMk/>
            <pc:sldMk cId="2718674449" sldId="509"/>
            <ac:spMk id="11" creationId="{7AE6D114-A1DA-49B8-9B64-738389E9C3CB}"/>
          </ac:spMkLst>
        </pc:spChg>
        <pc:spChg chg="add mod">
          <ac:chgData name="SAUVAN, Julien" userId="6e0e278e-5964-4c9d-b33f-6a7cf7de2f5c" providerId="ADAL" clId="{5603ED68-73EC-469B-BE1E-4C33A6C93B44}" dt="2019-01-12T17:28:46.856" v="5180" actId="1076"/>
          <ac:spMkLst>
            <pc:docMk/>
            <pc:sldMk cId="2718674449" sldId="509"/>
            <ac:spMk id="12" creationId="{54B6537A-0F25-4C58-B91B-734101A504F1}"/>
          </ac:spMkLst>
        </pc:spChg>
        <pc:spChg chg="del">
          <ac:chgData name="SAUVAN, Julien" userId="6e0e278e-5964-4c9d-b33f-6a7cf7de2f5c" providerId="ADAL" clId="{5603ED68-73EC-469B-BE1E-4C33A6C93B44}" dt="2019-01-12T17:21:14.864" v="4612" actId="478"/>
          <ac:spMkLst>
            <pc:docMk/>
            <pc:sldMk cId="2718674449" sldId="509"/>
            <ac:spMk id="14" creationId="{779EE91B-8F4F-4CB2-A8C3-5E89DD57F57D}"/>
          </ac:spMkLst>
        </pc:spChg>
        <pc:spChg chg="add mod">
          <ac:chgData name="SAUVAN, Julien" userId="6e0e278e-5964-4c9d-b33f-6a7cf7de2f5c" providerId="ADAL" clId="{5603ED68-73EC-469B-BE1E-4C33A6C93B44}" dt="2019-01-12T17:27:14.103" v="5037" actId="1076"/>
          <ac:spMkLst>
            <pc:docMk/>
            <pc:sldMk cId="2718674449" sldId="509"/>
            <ac:spMk id="15" creationId="{4E706354-F7C5-4DAA-B368-0A1023597036}"/>
          </ac:spMkLst>
        </pc:spChg>
        <pc:spChg chg="add mod">
          <ac:chgData name="SAUVAN, Julien" userId="6e0e278e-5964-4c9d-b33f-6a7cf7de2f5c" providerId="ADAL" clId="{5603ED68-73EC-469B-BE1E-4C33A6C93B44}" dt="2019-01-12T17:28:42.225" v="5179" actId="1076"/>
          <ac:spMkLst>
            <pc:docMk/>
            <pc:sldMk cId="2718674449" sldId="509"/>
            <ac:spMk id="18" creationId="{E7136570-D17F-4C3A-8AA7-DEB59E17B19B}"/>
          </ac:spMkLst>
        </pc:spChg>
        <pc:picChg chg="add mod">
          <ac:chgData name="SAUVAN, Julien" userId="6e0e278e-5964-4c9d-b33f-6a7cf7de2f5c" providerId="ADAL" clId="{5603ED68-73EC-469B-BE1E-4C33A6C93B44}" dt="2019-01-12T17:23:09.523" v="4716" actId="1076"/>
          <ac:picMkLst>
            <pc:docMk/>
            <pc:sldMk cId="2718674449" sldId="509"/>
            <ac:picMk id="3" creationId="{45E98918-C401-4536-979C-C3E39F374A47}"/>
          </ac:picMkLst>
        </pc:picChg>
        <pc:picChg chg="add mod">
          <ac:chgData name="SAUVAN, Julien" userId="6e0e278e-5964-4c9d-b33f-6a7cf7de2f5c" providerId="ADAL" clId="{5603ED68-73EC-469B-BE1E-4C33A6C93B44}" dt="2019-01-12T17:25:48.843" v="4766" actId="207"/>
          <ac:picMkLst>
            <pc:docMk/>
            <pc:sldMk cId="2718674449" sldId="509"/>
            <ac:picMk id="7" creationId="{3823E460-5CFF-4A50-A729-653A26DC2F64}"/>
          </ac:picMkLst>
        </pc:picChg>
        <pc:picChg chg="del">
          <ac:chgData name="SAUVAN, Julien" userId="6e0e278e-5964-4c9d-b33f-6a7cf7de2f5c" providerId="ADAL" clId="{5603ED68-73EC-469B-BE1E-4C33A6C93B44}" dt="2019-01-12T17:21:16.528" v="4613" actId="478"/>
          <ac:picMkLst>
            <pc:docMk/>
            <pc:sldMk cId="2718674449" sldId="509"/>
            <ac:picMk id="8" creationId="{23A9EEA9-1808-4B59-903E-1A55DCB4418D}"/>
          </ac:picMkLst>
        </pc:picChg>
        <pc:picChg chg="del">
          <ac:chgData name="SAUVAN, Julien" userId="6e0e278e-5964-4c9d-b33f-6a7cf7de2f5c" providerId="ADAL" clId="{5603ED68-73EC-469B-BE1E-4C33A6C93B44}" dt="2019-01-12T17:21:12.374" v="4611" actId="478"/>
          <ac:picMkLst>
            <pc:docMk/>
            <pc:sldMk cId="2718674449" sldId="509"/>
            <ac:picMk id="13" creationId="{BA7D95D6-932F-4A91-9678-6C1E8E890AFE}"/>
          </ac:picMkLst>
        </pc:picChg>
        <pc:picChg chg="add mod">
          <ac:chgData name="SAUVAN, Julien" userId="6e0e278e-5964-4c9d-b33f-6a7cf7de2f5c" providerId="ADAL" clId="{5603ED68-73EC-469B-BE1E-4C33A6C93B44}" dt="2019-01-12T17:27:31.542" v="5040" actId="207"/>
          <ac:picMkLst>
            <pc:docMk/>
            <pc:sldMk cId="2718674449" sldId="509"/>
            <ac:picMk id="17" creationId="{D545D11A-6432-4D1F-AA9C-AE0A08C24283}"/>
          </ac:picMkLst>
        </pc:picChg>
      </pc:sldChg>
      <pc:sldChg chg="addSp delSp modSp add">
        <pc:chgData name="SAUVAN, Julien" userId="6e0e278e-5964-4c9d-b33f-6a7cf7de2f5c" providerId="ADAL" clId="{5603ED68-73EC-469B-BE1E-4C33A6C93B44}" dt="2019-01-12T18:11:28.094" v="6550" actId="2711"/>
        <pc:sldMkLst>
          <pc:docMk/>
          <pc:sldMk cId="2574899410" sldId="510"/>
        </pc:sldMkLst>
        <pc:spChg chg="del">
          <ac:chgData name="SAUVAN, Julien" userId="6e0e278e-5964-4c9d-b33f-6a7cf7de2f5c" providerId="ADAL" clId="{5603ED68-73EC-469B-BE1E-4C33A6C93B44}" dt="2019-01-12T18:02:29.279" v="5751" actId="478"/>
          <ac:spMkLst>
            <pc:docMk/>
            <pc:sldMk cId="2574899410" sldId="510"/>
            <ac:spMk id="2" creationId="{14C13C34-53C4-47DE-BD73-C6C4DBAE15BE}"/>
          </ac:spMkLst>
        </pc:spChg>
        <pc:spChg chg="add mod">
          <ac:chgData name="SAUVAN, Julien" userId="6e0e278e-5964-4c9d-b33f-6a7cf7de2f5c" providerId="ADAL" clId="{5603ED68-73EC-469B-BE1E-4C33A6C93B44}" dt="2019-01-12T18:11:28.094" v="6550" actId="2711"/>
          <ac:spMkLst>
            <pc:docMk/>
            <pc:sldMk cId="2574899410" sldId="510"/>
            <ac:spMk id="3" creationId="{537A31C0-B6AB-487A-A6D4-CAED19AF3BB2}"/>
          </ac:spMkLst>
        </pc:spChg>
        <pc:spChg chg="add mod">
          <ac:chgData name="SAUVAN, Julien" userId="6e0e278e-5964-4c9d-b33f-6a7cf7de2f5c" providerId="ADAL" clId="{5603ED68-73EC-469B-BE1E-4C33A6C93B44}" dt="2019-01-12T18:07:49.055" v="5778" actId="20577"/>
          <ac:spMkLst>
            <pc:docMk/>
            <pc:sldMk cId="2574899410" sldId="510"/>
            <ac:spMk id="6" creationId="{7F059620-0A9F-40B3-A9A2-DF7E00068EB1}"/>
          </ac:spMkLst>
        </pc:spChg>
        <pc:picChg chg="del">
          <ac:chgData name="SAUVAN, Julien" userId="6e0e278e-5964-4c9d-b33f-6a7cf7de2f5c" providerId="ADAL" clId="{5603ED68-73EC-469B-BE1E-4C33A6C93B44}" dt="2019-01-12T18:02:29.279" v="5751" actId="478"/>
          <ac:picMkLst>
            <pc:docMk/>
            <pc:sldMk cId="2574899410" sldId="510"/>
            <ac:picMk id="4" creationId="{80360D6B-68AA-4CB2-8C45-73B2D4D40730}"/>
          </ac:picMkLst>
        </pc:picChg>
      </pc:sldChg>
      <pc:sldMasterChg chg="delSldLayout">
        <pc:chgData name="SAUVAN, Julien" userId="6e0e278e-5964-4c9d-b33f-6a7cf7de2f5c" providerId="ADAL" clId="{5603ED68-73EC-469B-BE1E-4C33A6C93B44}" dt="2019-01-10T14:42:40.121" v="213" actId="2696"/>
        <pc:sldMasterMkLst>
          <pc:docMk/>
          <pc:sldMasterMk cId="3719976033" sldId="2147483687"/>
        </pc:sldMasterMkLst>
      </pc:sldMasterChg>
    </pc:docChg>
  </pc:docChgLst>
  <pc:docChgLst>
    <pc:chgData name="Rivière, Carole" userId="S::carole.riviere@capgemini.com::1616e383-db3d-4f27-8172-695f9bba40c8" providerId="AD" clId="Web-{03BAC810-63E0-4C75-BF4A-C0ADA27640DD}"/>
    <pc:docChg chg="modSld">
      <pc:chgData name="Rivière, Carole" userId="S::carole.riviere@capgemini.com::1616e383-db3d-4f27-8172-695f9bba40c8" providerId="AD" clId="Web-{03BAC810-63E0-4C75-BF4A-C0ADA27640DD}" dt="2019-01-15T09:58:29.693" v="6" actId="20577"/>
      <pc:docMkLst>
        <pc:docMk/>
      </pc:docMkLst>
      <pc:sldChg chg="modSp">
        <pc:chgData name="Rivière, Carole" userId="S::carole.riviere@capgemini.com::1616e383-db3d-4f27-8172-695f9bba40c8" providerId="AD" clId="Web-{03BAC810-63E0-4C75-BF4A-C0ADA27640DD}" dt="2019-01-15T09:58:29.693" v="6" actId="20577"/>
        <pc:sldMkLst>
          <pc:docMk/>
          <pc:sldMk cId="2325628586" sldId="477"/>
        </pc:sldMkLst>
        <pc:spChg chg="mod">
          <ac:chgData name="Rivière, Carole" userId="S::carole.riviere@capgemini.com::1616e383-db3d-4f27-8172-695f9bba40c8" providerId="AD" clId="Web-{03BAC810-63E0-4C75-BF4A-C0ADA27640DD}" dt="2019-01-15T09:58:29.693" v="6" actId="20577"/>
          <ac:spMkLst>
            <pc:docMk/>
            <pc:sldMk cId="2325628586" sldId="477"/>
            <ac:spMk id="17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D2727D3-760F-4AFA-AB41-0F8C7F555D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E71AC9-7071-4947-B727-BB52A5E5FB4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AE6233-AEFE-4C62-8BDA-1CA2BFF1654D}" type="datetimeFigureOut">
              <a:rPr lang="fr-FR" smtClean="0"/>
              <a:t>15/01/2019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A23277-BF8A-4296-B741-1517E97660C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44A085-B9F4-4318-A472-460A2177AC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CCBAC0-4C0E-4690-AD62-777BAE4D428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44238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21E819-6C68-4C89-BCFD-0F9F9AB178CB}" type="datetimeFigureOut">
              <a:rPr lang="en-US" smtClean="0"/>
              <a:t>1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44A180-D5FB-4B3D-9FB4-BC58F48E13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911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8582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479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005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9781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763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857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0" y="2812211"/>
            <a:ext cx="12192000" cy="4045789"/>
            <a:chOff x="0" y="2812211"/>
            <a:chExt cx="12192000" cy="40457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sp>
          <p:nvSpPr>
            <p:cNvPr id="8" name="Rectangle 7"/>
            <p:cNvSpPr/>
            <p:nvPr/>
          </p:nvSpPr>
          <p:spPr>
            <a:xfrm>
              <a:off x="0" y="3536830"/>
              <a:ext cx="12192000" cy="332117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Isosceles Triangle 8"/>
            <p:cNvSpPr/>
            <p:nvPr/>
          </p:nvSpPr>
          <p:spPr>
            <a:xfrm>
              <a:off x="5029199" y="2812211"/>
              <a:ext cx="2234242" cy="72461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" name="Group 2"/>
          <p:cNvGrpSpPr/>
          <p:nvPr userDrawn="1"/>
        </p:nvGrpSpPr>
        <p:grpSpPr>
          <a:xfrm>
            <a:off x="-132198" y="-79273"/>
            <a:ext cx="3568925" cy="723459"/>
            <a:chOff x="-132198" y="-79273"/>
            <a:chExt cx="3568925" cy="723459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32198" y="-79273"/>
              <a:ext cx="3568925" cy="686332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23621" y="336409"/>
              <a:ext cx="319972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noProof="0">
                  <a:latin typeface="Lato" panose="020F0502020204030203" pitchFamily="34" charset="0"/>
                </a:rPr>
                <a:t>Where smart ideas transform business</a:t>
              </a:r>
            </a:p>
          </p:txBody>
        </p:sp>
      </p:grp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420950" y="2051265"/>
            <a:ext cx="4834631" cy="4804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TITLE</a:t>
            </a:r>
            <a:endParaRPr lang="fr-FR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420688" y="2671763"/>
            <a:ext cx="3160712" cy="4714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Insert date</a:t>
            </a:r>
            <a:endParaRPr lang="fr-FR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9" t="52387" r="14361" b="9392"/>
          <a:stretch/>
        </p:blipFill>
        <p:spPr>
          <a:xfrm>
            <a:off x="10027132" y="39757"/>
            <a:ext cx="2163144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2899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726426" cy="6858000"/>
          </a:xfrm>
          <a:prstGeom prst="rect">
            <a:avLst/>
          </a:prstGeom>
        </p:spPr>
      </p:pic>
      <p:sp>
        <p:nvSpPr>
          <p:cNvPr id="31" name="Shape 109"/>
          <p:cNvSpPr/>
          <p:nvPr/>
        </p:nvSpPr>
        <p:spPr>
          <a:xfrm rot="2700000">
            <a:off x="9907171" y="505403"/>
            <a:ext cx="1563087" cy="1625862"/>
          </a:xfrm>
          <a:prstGeom prst="rect">
            <a:avLst/>
          </a:prstGeom>
          <a:noFill/>
          <a:ln w="19050" cap="flat" cmpd="sng">
            <a:solidFill>
              <a:schemeClr val="tx2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Title 32"/>
          <p:cNvSpPr>
            <a:spLocks noGrp="1"/>
          </p:cNvSpPr>
          <p:nvPr>
            <p:ph type="title" hasCustomPrompt="1"/>
          </p:nvPr>
        </p:nvSpPr>
        <p:spPr>
          <a:xfrm>
            <a:off x="10051370" y="1080268"/>
            <a:ext cx="1445213" cy="45607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fr-FR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96437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reak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hape 75"/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30635" y="165853"/>
            <a:ext cx="11930730" cy="652629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24913" y="2775096"/>
            <a:ext cx="3698289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800">
                <a:latin typeface="+mj-lt"/>
              </a:defRPr>
            </a:lvl1pPr>
          </a:lstStyle>
          <a:p>
            <a:r>
              <a:rPr lang="en-US"/>
              <a:t>BREAK SECTION</a:t>
            </a:r>
            <a:endParaRPr lang="fr-FR"/>
          </a:p>
        </p:txBody>
      </p:sp>
      <p:sp>
        <p:nvSpPr>
          <p:cNvPr id="10" name="Shape 109"/>
          <p:cNvSpPr/>
          <p:nvPr/>
        </p:nvSpPr>
        <p:spPr>
          <a:xfrm rot="2700000">
            <a:off x="4606048" y="2144992"/>
            <a:ext cx="2580214" cy="2568015"/>
          </a:xfrm>
          <a:prstGeom prst="rect">
            <a:avLst/>
          </a:prstGeom>
          <a:noFill/>
          <a:ln w="28575" cap="flat" cmpd="sng">
            <a:solidFill>
              <a:srgbClr val="FFFFFF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424258" y="2104008"/>
            <a:ext cx="905521" cy="10043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#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4272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 full wif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5866382" y="1309157"/>
            <a:ext cx="459237" cy="154296"/>
            <a:chOff x="5619563" y="1313895"/>
            <a:chExt cx="459237" cy="154296"/>
          </a:xfrm>
        </p:grpSpPr>
        <p:sp>
          <p:nvSpPr>
            <p:cNvPr id="10" name="Oval 9"/>
            <p:cNvSpPr/>
            <p:nvPr/>
          </p:nvSpPr>
          <p:spPr>
            <a:xfrm>
              <a:off x="5619563" y="1313895"/>
              <a:ext cx="142043" cy="1542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" name="Oval 10"/>
            <p:cNvSpPr/>
            <p:nvPr/>
          </p:nvSpPr>
          <p:spPr>
            <a:xfrm>
              <a:off x="5782599" y="1313895"/>
              <a:ext cx="142043" cy="15429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Oval 11"/>
            <p:cNvSpPr/>
            <p:nvPr/>
          </p:nvSpPr>
          <p:spPr>
            <a:xfrm>
              <a:off x="5936757" y="1313895"/>
              <a:ext cx="142043" cy="1542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07989" y="249701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fr-FR" sz="2800" dirty="0">
                <a:latin typeface="+mn-lt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362703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F3F160A-E2AB-4B43-9624-8FA6526A6132}" type="datetimeFigureOut">
              <a:rPr lang="fr-FR" smtClean="0"/>
              <a:t>15/01/2019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726426" cy="6858000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3725398" y="549001"/>
            <a:ext cx="5612883" cy="5759999"/>
            <a:chOff x="3725398" y="514276"/>
            <a:chExt cx="5612883" cy="5759999"/>
          </a:xfrm>
        </p:grpSpPr>
        <p:sp>
          <p:nvSpPr>
            <p:cNvPr id="10" name="Rectangle 9"/>
            <p:cNvSpPr/>
            <p:nvPr/>
          </p:nvSpPr>
          <p:spPr>
            <a:xfrm>
              <a:off x="3725398" y="4834276"/>
              <a:ext cx="5612883" cy="1439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725398" y="3394276"/>
              <a:ext cx="5612883" cy="1439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725398" y="1954275"/>
              <a:ext cx="5612883" cy="1439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725398" y="514276"/>
              <a:ext cx="5612883" cy="1439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8" name="Text Placehold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47713" y="856019"/>
            <a:ext cx="3705687" cy="8259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it-IT" b="1">
                <a:latin typeface="Montserrat" panose="02000505000000020004" pitchFamily="2" charset="0"/>
              </a:rPr>
              <a:t>1. YOUR TITLE HERE</a:t>
            </a:r>
            <a:endParaRPr lang="fr-FR" b="1">
              <a:latin typeface="Montserrat" panose="02000505000000020004" pitchFamily="2" charset="0"/>
            </a:endParaRPr>
          </a:p>
        </p:txBody>
      </p:sp>
      <p:sp>
        <p:nvSpPr>
          <p:cNvPr id="17" name="Text Placeholder 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447713" y="2296018"/>
            <a:ext cx="3705687" cy="8259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it-IT" b="1">
                <a:latin typeface="Montserrat" panose="02000505000000020004" pitchFamily="2" charset="0"/>
              </a:rPr>
              <a:t>2. YOUR TITLE HERE</a:t>
            </a:r>
            <a:endParaRPr lang="fr-FR" b="1">
              <a:latin typeface="Montserrat" panose="02000505000000020004" pitchFamily="2" charset="0"/>
            </a:endParaRPr>
          </a:p>
        </p:txBody>
      </p:sp>
      <p:sp>
        <p:nvSpPr>
          <p:cNvPr id="25" name="Text Placeholder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81073" y="3736019"/>
            <a:ext cx="3705687" cy="8259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it-IT" b="1">
                <a:latin typeface="Montserrat" panose="02000505000000020004" pitchFamily="2" charset="0"/>
              </a:rPr>
              <a:t>3. YOUR TITLE HERE</a:t>
            </a:r>
            <a:endParaRPr lang="fr-FR" b="1">
              <a:latin typeface="Montserrat" panose="02000505000000020004" pitchFamily="2" charset="0"/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447713" y="5176018"/>
            <a:ext cx="3705687" cy="8259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it-IT" b="1">
                <a:latin typeface="Montserrat" panose="02000505000000020004" pitchFamily="2" charset="0"/>
              </a:rPr>
              <a:t>4. YOUR TITLE HERE</a:t>
            </a:r>
            <a:endParaRPr lang="fr-FR" b="1">
              <a:latin typeface="Montserrat" panose="02000505000000020004" pitchFamily="2" charset="0"/>
            </a:endParaRPr>
          </a:p>
        </p:txBody>
      </p:sp>
      <p:sp>
        <p:nvSpPr>
          <p:cNvPr id="31" name="Shape 109"/>
          <p:cNvSpPr/>
          <p:nvPr userDrawn="1"/>
        </p:nvSpPr>
        <p:spPr>
          <a:xfrm rot="2700000">
            <a:off x="9907171" y="505403"/>
            <a:ext cx="1563087" cy="1625862"/>
          </a:xfrm>
          <a:prstGeom prst="rect">
            <a:avLst/>
          </a:prstGeom>
          <a:noFill/>
          <a:ln w="19050" cap="flat" cmpd="sng">
            <a:solidFill>
              <a:srgbClr val="04BFC8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Title 32"/>
          <p:cNvSpPr>
            <a:spLocks noGrp="1"/>
          </p:cNvSpPr>
          <p:nvPr userDrawn="1">
            <p:ph type="title" hasCustomPrompt="1"/>
          </p:nvPr>
        </p:nvSpPr>
        <p:spPr>
          <a:xfrm>
            <a:off x="10051370" y="1080268"/>
            <a:ext cx="1445213" cy="45607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fr-FR"/>
              <a:t>AGENDA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15" y="6641303"/>
            <a:ext cx="1788107" cy="189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068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965486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941E3B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941E3B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941E3B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941E3B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941E3B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9397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5451" y="1463676"/>
            <a:ext cx="5486400" cy="470852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2267" y="1463676"/>
            <a:ext cx="5486400" cy="470852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95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32287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93BE94C-DE29-46A4-BC69-233BBA10D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15889"/>
            <a:ext cx="1173797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782391B-E689-460E-90DE-7482447EE0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013" y="1825625"/>
            <a:ext cx="11737975" cy="46790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id="{783B5ADB-CD16-4C20-8B5B-E13163DC9BE3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BE6A7C2-9F53-496A-9676-C4AFE935681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Capgemini 2018. All rights reserved  </a:t>
            </a:r>
            <a:r>
              <a:rPr lang="en-US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EDC3695-4030-43DF-B585-AA4AA60F0BBA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>
                    <a:lumMod val="65000"/>
                  </a:schemeClr>
                </a:solidFill>
              </a:rPr>
              <a:t>Master X-HEC – 01082019</a:t>
            </a:r>
          </a:p>
        </p:txBody>
      </p:sp>
      <p:grpSp>
        <p:nvGrpSpPr>
          <p:cNvPr id="13" name="Groupe 1">
            <a:extLst>
              <a:ext uri="{FF2B5EF4-FFF2-40B4-BE49-F238E27FC236}">
                <a16:creationId xmlns:a16="http://schemas.microsoft.com/office/drawing/2014/main" id="{20BF3728-59D3-4CD5-8202-4DB46BEA4C77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E1BD454-A789-4ABD-92D1-0F2FE5059B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B748BEC6-ED6A-4F36-8FA1-72605C55B6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19976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726" r:id="rId3"/>
    <p:sldLayoutId id="2147483700" r:id="rId4"/>
    <p:sldLayoutId id="2147483662" r:id="rId5"/>
    <p:sldLayoutId id="2147483727" r:id="rId6"/>
    <p:sldLayoutId id="2147483728" r:id="rId7"/>
    <p:sldLayoutId id="2147483729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schools.com/xml/xpath_intro.asp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png"/><Relationship Id="rId4" Type="http://schemas.openxmlformats.org/officeDocument/2006/relationships/hyperlink" Target="http://zvon.org/comp/r/tut-XPath_1.html#intro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docs.scrapy.org/en/latest/topics/selectors.html#topics-selectors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7" Type="http://schemas.openxmlformats.org/officeDocument/2006/relationships/image" Target="../media/image38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0.JP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facebook.com/apps/site_scraping_tos_terms.php" TargetMode="Externa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2.JP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3.JP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5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4.JP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7.JP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6.JP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59.JP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7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75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8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1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8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8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8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2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gif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ray, fish, animal&#10;&#10;Description generated with very high confidence">
            <a:extLst>
              <a:ext uri="{FF2B5EF4-FFF2-40B4-BE49-F238E27FC236}">
                <a16:creationId xmlns:a16="http://schemas.microsoft.com/office/drawing/2014/main" id="{055E1861-1AB0-4E88-A41A-A6FB54DD6D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524" cy="6858000"/>
          </a:xfrm>
          <a:prstGeom prst="rect">
            <a:avLst/>
          </a:prstGeom>
        </p:spPr>
      </p:pic>
      <p:sp>
        <p:nvSpPr>
          <p:cNvPr id="3" name="object 3">
            <a:extLst>
              <a:ext uri="{FF2B5EF4-FFF2-40B4-BE49-F238E27FC236}">
                <a16:creationId xmlns:a16="http://schemas.microsoft.com/office/drawing/2014/main" id="{2EB20E5E-409C-485A-947A-0C8AE3CDA6C8}"/>
              </a:ext>
            </a:extLst>
          </p:cNvPr>
          <p:cNvSpPr txBox="1">
            <a:spLocks/>
          </p:cNvSpPr>
          <p:nvPr/>
        </p:nvSpPr>
        <p:spPr>
          <a:xfrm>
            <a:off x="227013" y="3140968"/>
            <a:ext cx="11688762" cy="90306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30"/>
              </a:spcBef>
              <a:spcAft>
                <a:spcPts val="1200"/>
              </a:spcAft>
              <a:tabLst>
                <a:tab pos="1578610" algn="l"/>
                <a:tab pos="4543425" algn="l"/>
              </a:tabLst>
            </a:pPr>
            <a:r>
              <a:rPr lang="en-US" sz="3200" b="1" spc="700">
                <a:solidFill>
                  <a:srgbClr val="FFFFFF"/>
                </a:solidFill>
              </a:rPr>
              <a:t>DATA SCIENCE CONSULTING</a:t>
            </a:r>
            <a:br>
              <a:rPr lang="en-US" sz="3200" b="1" spc="700">
                <a:solidFill>
                  <a:srgbClr val="FFFFFF"/>
                </a:solidFill>
              </a:rPr>
            </a:br>
            <a:r>
              <a:rPr lang="en-US" sz="3200" b="1" spc="700">
                <a:solidFill>
                  <a:srgbClr val="FFFFFF"/>
                </a:solidFill>
              </a:rPr>
              <a:t>Session 2</a:t>
            </a:r>
            <a:endParaRPr lang="en-US" sz="3200" spc="700">
              <a:solidFill>
                <a:srgbClr val="FFFFFF"/>
              </a:solidFill>
            </a:endParaRPr>
          </a:p>
        </p:txBody>
      </p:sp>
      <p:grpSp>
        <p:nvGrpSpPr>
          <p:cNvPr id="4" name="Group 14">
            <a:extLst>
              <a:ext uri="{FF2B5EF4-FFF2-40B4-BE49-F238E27FC236}">
                <a16:creationId xmlns:a16="http://schemas.microsoft.com/office/drawing/2014/main" id="{E6458F2D-E7A9-4B6E-BD4F-DEA4D5F1E1FF}"/>
              </a:ext>
            </a:extLst>
          </p:cNvPr>
          <p:cNvGrpSpPr>
            <a:grpSpLocks noChangeAspect="1"/>
          </p:cNvGrpSpPr>
          <p:nvPr/>
        </p:nvGrpSpPr>
        <p:grpSpPr>
          <a:xfrm>
            <a:off x="4223932" y="446830"/>
            <a:ext cx="3744136" cy="834745"/>
            <a:chOff x="728663" y="4465638"/>
            <a:chExt cx="5354637" cy="1193801"/>
          </a:xfrm>
        </p:grpSpPr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4F381868-35F2-48FA-A61A-C8E92AC1B6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022190BC-AEE0-4149-B71B-E42D2AD36A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C94EE46F-1D21-4B00-AF17-7CDB28467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DCC00FD5-C18B-42DD-829D-1F9967B8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10BA6716-C831-45F8-85CE-34F48391E2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27390A8-A4D3-47D3-9AA9-051E0367D6CD}"/>
              </a:ext>
            </a:extLst>
          </p:cNvPr>
          <p:cNvSpPr txBox="1">
            <a:spLocks/>
          </p:cNvSpPr>
          <p:nvPr/>
        </p:nvSpPr>
        <p:spPr>
          <a:xfrm>
            <a:off x="227013" y="6130986"/>
            <a:ext cx="3160712" cy="35871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chemeClr val="bg1"/>
                </a:solidFill>
              </a:rPr>
              <a:t>January 15</a:t>
            </a:r>
            <a:r>
              <a:rPr lang="en-US" sz="1800" baseline="30000">
                <a:solidFill>
                  <a:schemeClr val="bg1"/>
                </a:solidFill>
              </a:rPr>
              <a:t>th</a:t>
            </a:r>
            <a:r>
              <a:rPr lang="en-US" sz="1800">
                <a:solidFill>
                  <a:schemeClr val="bg1"/>
                </a:solidFill>
              </a:rPr>
              <a:t>, 2019</a:t>
            </a:r>
          </a:p>
        </p:txBody>
      </p:sp>
    </p:spTree>
    <p:extLst>
      <p:ext uri="{BB962C8B-B14F-4D97-AF65-F5344CB8AC3E}">
        <p14:creationId xmlns:p14="http://schemas.microsoft.com/office/powerpoint/2010/main" val="4281479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Introduction to XPath</a:t>
            </a:r>
            <a:endParaRPr lang="en-US" sz="2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51D7D0-A63B-4B35-B3B5-9805FF04A2B4}"/>
              </a:ext>
            </a:extLst>
          </p:cNvPr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How to selec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4F9385-46E6-415A-9488-D1DE29600082}"/>
              </a:ext>
            </a:extLst>
          </p:cNvPr>
          <p:cNvSpPr txBox="1"/>
          <p:nvPr/>
        </p:nvSpPr>
        <p:spPr>
          <a:xfrm>
            <a:off x="407988" y="2637264"/>
            <a:ext cx="1139854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/>
              <a:t>Conditions</a:t>
            </a:r>
            <a:r>
              <a:rPr lang="fr-FR"/>
              <a:t>: [ ]</a:t>
            </a:r>
          </a:p>
          <a:p>
            <a:r>
              <a:rPr lang="fr-FR"/>
              <a:t>Use conditions </a:t>
            </a:r>
            <a:r>
              <a:rPr lang="fr-FR" err="1"/>
              <a:t>when</a:t>
            </a:r>
            <a:r>
              <a:rPr lang="fr-FR"/>
              <a:t>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ant</a:t>
            </a:r>
            <a:r>
              <a:rPr lang="fr-FR"/>
              <a:t> to select </a:t>
            </a:r>
            <a:r>
              <a:rPr lang="fr-FR" err="1"/>
              <a:t>nodes</a:t>
            </a:r>
            <a:r>
              <a:rPr lang="fr-FR"/>
              <a:t> of a </a:t>
            </a:r>
            <a:r>
              <a:rPr lang="fr-FR" err="1"/>
              <a:t>specific</a:t>
            </a:r>
            <a:r>
              <a:rPr lang="fr-FR"/>
              <a:t> type</a:t>
            </a:r>
          </a:p>
          <a:p>
            <a:endParaRPr lang="fr-FR"/>
          </a:p>
          <a:p>
            <a:endParaRPr lang="fr-FR"/>
          </a:p>
          <a:p>
            <a:r>
              <a:rPr lang="fr-FR" u="sng"/>
              <a:t>Example</a:t>
            </a:r>
          </a:p>
          <a:p>
            <a:endParaRPr lang="fr-FR"/>
          </a:p>
          <a:p>
            <a:r>
              <a:rPr lang="fr-FR" b="1">
                <a:solidFill>
                  <a:srgbClr val="22759E"/>
                </a:solidFill>
              </a:rPr>
              <a:t>//div[@class = "books"] </a:t>
            </a:r>
            <a:r>
              <a:rPr lang="fr-FR" err="1"/>
              <a:t>extracts</a:t>
            </a:r>
            <a:r>
              <a:rPr lang="fr-FR"/>
              <a:t> all the div of the class « book »</a:t>
            </a:r>
          </a:p>
          <a:p>
            <a:r>
              <a:rPr lang="fr-FR" b="1">
                <a:solidFill>
                  <a:srgbClr val="22759E"/>
                </a:solidFill>
              </a:rPr>
              <a:t>//a[</a:t>
            </a:r>
            <a:r>
              <a:rPr lang="fr-FR" b="1" err="1">
                <a:solidFill>
                  <a:srgbClr val="22759E"/>
                </a:solidFill>
              </a:rPr>
              <a:t>contains</a:t>
            </a:r>
            <a:r>
              <a:rPr lang="fr-FR" b="1">
                <a:solidFill>
                  <a:srgbClr val="22759E"/>
                </a:solidFill>
              </a:rPr>
              <a:t>(</a:t>
            </a:r>
            <a:r>
              <a:rPr lang="fr-FR" b="1" err="1">
                <a:solidFill>
                  <a:srgbClr val="22759E"/>
                </a:solidFill>
              </a:rPr>
              <a:t>text</a:t>
            </a:r>
            <a:r>
              <a:rPr lang="fr-FR" b="1">
                <a:solidFill>
                  <a:srgbClr val="22759E"/>
                </a:solidFill>
              </a:rPr>
              <a:t>(), "Dr.")] </a:t>
            </a:r>
            <a:r>
              <a:rPr lang="fr-FR" err="1"/>
              <a:t>extracts</a:t>
            </a:r>
            <a:r>
              <a:rPr lang="fr-FR"/>
              <a:t> all the links </a:t>
            </a:r>
            <a:r>
              <a:rPr lang="fr-FR" err="1"/>
              <a:t>with</a:t>
            </a:r>
            <a:r>
              <a:rPr lang="fr-FR"/>
              <a:t> the </a:t>
            </a:r>
            <a:r>
              <a:rPr lang="fr-FR" err="1"/>
              <a:t>text</a:t>
            </a:r>
            <a:r>
              <a:rPr lang="fr-FR"/>
              <a:t> « Dr. » </a:t>
            </a:r>
          </a:p>
          <a:p>
            <a:r>
              <a:rPr lang="fr-FR" b="1">
                <a:solidFill>
                  <a:srgbClr val="22759E"/>
                </a:solidFill>
              </a:rPr>
              <a:t>//a[</a:t>
            </a:r>
            <a:r>
              <a:rPr lang="fr-FR" b="1" err="1">
                <a:solidFill>
                  <a:srgbClr val="22759E"/>
                </a:solidFill>
              </a:rPr>
              <a:t>contains</a:t>
            </a:r>
            <a:r>
              <a:rPr lang="fr-FR" b="1">
                <a:solidFill>
                  <a:srgbClr val="22759E"/>
                </a:solidFill>
              </a:rPr>
              <a:t>(@href, "Harry")] </a:t>
            </a:r>
            <a:r>
              <a:rPr lang="fr-FR" err="1"/>
              <a:t>extracts</a:t>
            </a:r>
            <a:r>
              <a:rPr lang="fr-FR"/>
              <a:t> all the links </a:t>
            </a:r>
            <a:r>
              <a:rPr lang="fr-FR" err="1"/>
              <a:t>whose</a:t>
            </a:r>
            <a:r>
              <a:rPr lang="fr-FR"/>
              <a:t> adresses </a:t>
            </a:r>
            <a:r>
              <a:rPr lang="fr-FR" err="1"/>
              <a:t>contains</a:t>
            </a:r>
            <a:r>
              <a:rPr lang="fr-FR"/>
              <a:t> « Harry ».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48550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Introduction to XPath</a:t>
            </a:r>
            <a:endParaRPr lang="en-US" sz="2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51D7D0-A63B-4B35-B3B5-9805FF04A2B4}"/>
              </a:ext>
            </a:extLst>
          </p:cNvPr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Ti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4F9385-46E6-415A-9488-D1DE29600082}"/>
              </a:ext>
            </a:extLst>
          </p:cNvPr>
          <p:cNvSpPr txBox="1"/>
          <p:nvPr/>
        </p:nvSpPr>
        <p:spPr>
          <a:xfrm>
            <a:off x="407989" y="2506235"/>
            <a:ext cx="853529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/>
              <a:t>Don’t </a:t>
            </a:r>
            <a:r>
              <a:rPr lang="fr-FR" err="1"/>
              <a:t>forget</a:t>
            </a:r>
            <a:r>
              <a:rPr lang="fr-FR"/>
              <a:t>…to </a:t>
            </a:r>
            <a:r>
              <a:rPr lang="fr-FR" err="1"/>
              <a:t>cheat</a:t>
            </a:r>
            <a:r>
              <a:rPr lang="fr-FR"/>
              <a:t> ! </a:t>
            </a:r>
            <a:r>
              <a:rPr lang="fr-FR" err="1"/>
              <a:t>Practising</a:t>
            </a:r>
            <a:r>
              <a:rPr lang="fr-FR"/>
              <a:t> </a:t>
            </a:r>
            <a:r>
              <a:rPr lang="fr-FR" err="1"/>
              <a:t>is</a:t>
            </a:r>
            <a:r>
              <a:rPr lang="fr-FR"/>
              <a:t> the key, and </a:t>
            </a:r>
            <a:r>
              <a:rPr lang="fr-FR" err="1"/>
              <a:t>there</a:t>
            </a:r>
            <a:r>
              <a:rPr lang="fr-FR"/>
              <a:t> </a:t>
            </a:r>
            <a:r>
              <a:rPr lang="fr-FR" err="1"/>
              <a:t>is</a:t>
            </a:r>
            <a:r>
              <a:rPr lang="fr-FR"/>
              <a:t> a lot of </a:t>
            </a:r>
            <a:r>
              <a:rPr lang="fr-FR" err="1"/>
              <a:t>resources</a:t>
            </a:r>
            <a:r>
              <a:rPr lang="fr-FR"/>
              <a:t> on the web to help </a:t>
            </a:r>
            <a:r>
              <a:rPr lang="fr-FR" err="1"/>
              <a:t>you</a:t>
            </a:r>
            <a:r>
              <a:rPr lang="fr-FR"/>
              <a:t>: </a:t>
            </a:r>
          </a:p>
          <a:p>
            <a:endParaRPr lang="fr-FR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Use </a:t>
            </a:r>
            <a:r>
              <a:rPr lang="fr-FR" err="1"/>
              <a:t>cheat</a:t>
            </a:r>
            <a:r>
              <a:rPr lang="fr-FR"/>
              <a:t> </a:t>
            </a:r>
            <a:r>
              <a:rPr lang="fr-FR" err="1"/>
              <a:t>sheets</a:t>
            </a:r>
            <a:r>
              <a:rPr lang="fr-FR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Use </a:t>
            </a:r>
            <a:r>
              <a:rPr lang="fr-FR" err="1"/>
              <a:t>browser’s</a:t>
            </a:r>
            <a:r>
              <a:rPr lang="fr-FR"/>
              <a:t> extensions </a:t>
            </a:r>
            <a:r>
              <a:rPr lang="fr-FR" err="1"/>
              <a:t>such</a:t>
            </a:r>
            <a:r>
              <a:rPr lang="fr-FR"/>
              <a:t> as </a:t>
            </a:r>
            <a:r>
              <a:rPr lang="fr-FR" err="1"/>
              <a:t>Firepath</a:t>
            </a:r>
            <a:r>
              <a:rPr lang="fr-FR"/>
              <a:t> (for Firefox), </a:t>
            </a:r>
            <a:r>
              <a:rPr lang="fr-FR" err="1"/>
              <a:t>Xpath</a:t>
            </a:r>
            <a:r>
              <a:rPr lang="fr-FR"/>
              <a:t> </a:t>
            </a:r>
            <a:r>
              <a:rPr lang="fr-FR" err="1"/>
              <a:t>Wizard</a:t>
            </a:r>
            <a:r>
              <a:rPr lang="fr-FR"/>
              <a:t> (for Google Chrome), </a:t>
            </a:r>
            <a:r>
              <a:rPr lang="fr-FR" err="1"/>
              <a:t>SelectorGadget</a:t>
            </a:r>
            <a:endParaRPr lang="fr-FR"/>
          </a:p>
          <a:p>
            <a:pPr lvl="1"/>
            <a:endParaRPr lang="fr-FR"/>
          </a:p>
          <a:p>
            <a:pPr lvl="1"/>
            <a:endParaRPr lang="fr-FR"/>
          </a:p>
          <a:p>
            <a:pPr lvl="1"/>
            <a:r>
              <a:rPr lang="fr-FR" b="1" err="1">
                <a:solidFill>
                  <a:srgbClr val="22759E"/>
                </a:solidFill>
              </a:rPr>
              <a:t>Useful</a:t>
            </a:r>
            <a:r>
              <a:rPr lang="fr-FR" b="1">
                <a:solidFill>
                  <a:srgbClr val="22759E"/>
                </a:solidFill>
              </a:rPr>
              <a:t> </a:t>
            </a:r>
            <a:r>
              <a:rPr lang="fr-FR" b="1" err="1">
                <a:solidFill>
                  <a:srgbClr val="22759E"/>
                </a:solidFill>
              </a:rPr>
              <a:t>resources</a:t>
            </a:r>
            <a:r>
              <a:rPr lang="fr-FR" b="1">
                <a:solidFill>
                  <a:srgbClr val="22759E"/>
                </a:solidFill>
              </a:rPr>
              <a:t>: </a:t>
            </a:r>
          </a:p>
          <a:p>
            <a:pPr lvl="1"/>
            <a:endParaRPr lang="fr-FR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Tutorial on W3School: </a:t>
            </a:r>
            <a:r>
              <a:rPr lang="fr-FR">
                <a:hlinkClick r:id="rId3"/>
              </a:rPr>
              <a:t>https://www.w3schools.com/xml/xpath_intro.asp</a:t>
            </a:r>
            <a:endParaRPr lang="fr-FR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err="1"/>
              <a:t>Another</a:t>
            </a:r>
            <a:r>
              <a:rPr lang="fr-FR"/>
              <a:t> tutorial: </a:t>
            </a:r>
            <a:r>
              <a:rPr lang="fr-FR">
                <a:hlinkClick r:id="rId4"/>
              </a:rPr>
              <a:t>http://zvon.org/comp/r/tut-XPath_1.html#intro</a:t>
            </a:r>
            <a:r>
              <a:rPr lang="fr-FR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4E9142-9F3D-4BAD-94B1-4F0AD0E882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3450" y="2854595"/>
            <a:ext cx="1925803" cy="1925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8677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86187" y="1685924"/>
            <a:ext cx="7815262" cy="46258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250000"/>
              </a:lnSpc>
              <a:buAutoNum type="arabicPeriod"/>
            </a:pPr>
            <a:r>
              <a:rPr lang="fr-FR" err="1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view</a:t>
            </a:r>
            <a:r>
              <a:rPr lang="fr-FR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of </a:t>
            </a:r>
            <a:r>
              <a:rPr lang="fr-FR" err="1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gress</a:t>
            </a:r>
            <a:r>
              <a:rPr lang="fr-FR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mad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XPath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 b="1">
                <a:solidFill>
                  <a:srgbClr val="22759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ing with </a:t>
            </a:r>
            <a:r>
              <a:rPr lang="en-US" b="1" err="1">
                <a:solidFill>
                  <a:srgbClr val="22759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y</a:t>
            </a:r>
            <a:endParaRPr lang="en-US" b="1">
              <a:solidFill>
                <a:srgbClr val="22759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PI’s at a glanc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Business Cas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mmary of the session</a:t>
            </a:r>
          </a:p>
          <a:p>
            <a:pPr marL="342900" indent="-342900">
              <a:lnSpc>
                <a:spcPct val="20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 next week...</a:t>
            </a:r>
            <a:endParaRPr lang="fr-FR">
              <a:solidFill>
                <a:schemeClr val="tx1">
                  <a:lumMod val="50000"/>
                  <a:lumOff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1094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Scraping with </a:t>
            </a:r>
            <a:r>
              <a:rPr lang="en-US" err="1"/>
              <a:t>Scrapy</a:t>
            </a:r>
            <a:endParaRPr lang="en-US" sz="2800"/>
          </a:p>
        </p:txBody>
      </p:sp>
      <p:pic>
        <p:nvPicPr>
          <p:cNvPr id="6146" name="Picture 2" descr="https://scrapy.org/img/scrapylogo.png">
            <a:extLst>
              <a:ext uri="{FF2B5EF4-FFF2-40B4-BE49-F238E27FC236}">
                <a16:creationId xmlns:a16="http://schemas.microsoft.com/office/drawing/2014/main" id="{5BFD898E-D726-4861-A9FE-319FB52149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812" y="1859808"/>
            <a:ext cx="306705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408181C-4706-47D0-BE80-73E25BA88D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7786" y="3220899"/>
            <a:ext cx="4538748" cy="22809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635A0A0-2EE7-4BE7-AD68-847BD58BE191}"/>
              </a:ext>
            </a:extLst>
          </p:cNvPr>
          <p:cNvSpPr txBox="1"/>
          <p:nvPr/>
        </p:nvSpPr>
        <p:spPr>
          <a:xfrm>
            <a:off x="311037" y="3377841"/>
            <a:ext cx="679395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err="1"/>
              <a:t>Scrapy</a:t>
            </a:r>
            <a:r>
              <a:rPr lang="fr-FR"/>
              <a:t> </a:t>
            </a:r>
            <a:r>
              <a:rPr lang="fr-FR" err="1"/>
              <a:t>is</a:t>
            </a:r>
            <a:r>
              <a:rPr lang="fr-FR"/>
              <a:t> a </a:t>
            </a:r>
            <a:r>
              <a:rPr lang="fr-FR" err="1"/>
              <a:t>powerful</a:t>
            </a:r>
            <a:r>
              <a:rPr lang="fr-FR"/>
              <a:t> Python package to </a:t>
            </a:r>
            <a:r>
              <a:rPr lang="fr-FR" err="1"/>
              <a:t>scrape</a:t>
            </a:r>
            <a:r>
              <a:rPr lang="fr-FR"/>
              <a:t>, </a:t>
            </a:r>
            <a:r>
              <a:rPr lang="en-US"/>
              <a:t>an application framework for writing web spiders that crawl web sites and extract data from them.</a:t>
            </a:r>
          </a:p>
          <a:p>
            <a:endParaRPr lang="en-US"/>
          </a:p>
          <a:p>
            <a:r>
              <a:rPr lang="en-US"/>
              <a:t>It combines a crawler and a parser, so it’s pretty complete for a </a:t>
            </a:r>
          </a:p>
          <a:p>
            <a:r>
              <a:rPr lang="en-US"/>
              <a:t>scraping project.</a:t>
            </a:r>
          </a:p>
          <a:p>
            <a:endParaRPr lang="en-US"/>
          </a:p>
          <a:p>
            <a:r>
              <a:rPr lang="en-US"/>
              <a:t>First step: install </a:t>
            </a:r>
            <a:r>
              <a:rPr lang="en-US" err="1"/>
              <a:t>Scrapy</a:t>
            </a:r>
            <a:r>
              <a:rPr lang="en-US"/>
              <a:t> using </a:t>
            </a:r>
            <a:endParaRPr lang="fr-FR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1FA1B93-285D-4DC5-8A3C-E7903E52C2F2}"/>
              </a:ext>
            </a:extLst>
          </p:cNvPr>
          <p:cNvSpPr/>
          <p:nvPr/>
        </p:nvSpPr>
        <p:spPr>
          <a:xfrm>
            <a:off x="3573518" y="5354736"/>
            <a:ext cx="3067050" cy="29429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ip</a:t>
            </a:r>
            <a:r>
              <a:rPr lang="fr-FR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ll</a:t>
            </a:r>
            <a:r>
              <a:rPr lang="fr-FR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apy</a:t>
            </a:r>
            <a:endParaRPr lang="fr-FR">
              <a:solidFill>
                <a:srgbClr val="92D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BCD15CB-C943-4F19-9835-6A3F229C6BFE}"/>
              </a:ext>
            </a:extLst>
          </p:cNvPr>
          <p:cNvSpPr/>
          <p:nvPr/>
        </p:nvSpPr>
        <p:spPr>
          <a:xfrm>
            <a:off x="3573518" y="5877249"/>
            <a:ext cx="5234151" cy="38033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da</a:t>
            </a:r>
            <a:r>
              <a:rPr lang="fr-FR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ll</a:t>
            </a:r>
            <a:r>
              <a:rPr lang="fr-FR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c </a:t>
            </a:r>
            <a:r>
              <a:rPr lang="fr-FR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da</a:t>
            </a:r>
            <a:r>
              <a:rPr lang="fr-FR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forge </a:t>
            </a:r>
            <a:r>
              <a:rPr lang="fr-FR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apy</a:t>
            </a:r>
            <a:endParaRPr lang="fr-FR">
              <a:solidFill>
                <a:srgbClr val="92D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5E9134-AA58-40A1-974E-9234A500B02C}"/>
              </a:ext>
            </a:extLst>
          </p:cNvPr>
          <p:cNvSpPr txBox="1"/>
          <p:nvPr/>
        </p:nvSpPr>
        <p:spPr>
          <a:xfrm>
            <a:off x="407989" y="5882748"/>
            <a:ext cx="3056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/>
              <a:t>or, if </a:t>
            </a:r>
            <a:r>
              <a:rPr lang="fr-FR" err="1"/>
              <a:t>you’re</a:t>
            </a:r>
            <a:r>
              <a:rPr lang="fr-FR"/>
              <a:t> </a:t>
            </a:r>
            <a:r>
              <a:rPr lang="fr-FR" err="1"/>
              <a:t>using</a:t>
            </a:r>
            <a:r>
              <a:rPr lang="fr-FR"/>
              <a:t> Anaconda:</a:t>
            </a:r>
          </a:p>
        </p:txBody>
      </p:sp>
    </p:spTree>
    <p:extLst>
      <p:ext uri="{BB962C8B-B14F-4D97-AF65-F5344CB8AC3E}">
        <p14:creationId xmlns:p14="http://schemas.microsoft.com/office/powerpoint/2010/main" val="37880130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Scraping with </a:t>
            </a:r>
            <a:r>
              <a:rPr lang="en-US" err="1"/>
              <a:t>Scrapy</a:t>
            </a:r>
            <a:r>
              <a:rPr lang="en-US"/>
              <a:t>: Spiders</a:t>
            </a:r>
            <a:endParaRPr lang="en-US" sz="28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9AF527-1E2F-4AA3-AAFA-24B9B69B7E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75" y="4344349"/>
            <a:ext cx="1695811" cy="1695811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C76A8BC-23DA-409D-81EB-D8FE9BB94469}"/>
              </a:ext>
            </a:extLst>
          </p:cNvPr>
          <p:cNvSpPr/>
          <p:nvPr/>
        </p:nvSpPr>
        <p:spPr>
          <a:xfrm>
            <a:off x="3355603" y="2294134"/>
            <a:ext cx="4645196" cy="274015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apy</a:t>
            </a:r>
            <a:r>
              <a:rPr lang="fr-FR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rtproject</a:t>
            </a:r>
            <a:r>
              <a:rPr lang="fr-FR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ject_name</a:t>
            </a:r>
            <a:endParaRPr lang="fr-FR">
              <a:solidFill>
                <a:srgbClr val="3DBFA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1243E9-38C7-4C03-9A20-607B156A985A}"/>
              </a:ext>
            </a:extLst>
          </p:cNvPr>
          <p:cNvSpPr txBox="1"/>
          <p:nvPr/>
        </p:nvSpPr>
        <p:spPr>
          <a:xfrm>
            <a:off x="407989" y="2147629"/>
            <a:ext cx="27640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err="1"/>
              <a:t>Create</a:t>
            </a:r>
            <a:r>
              <a:rPr lang="fr-FR"/>
              <a:t> a new </a:t>
            </a:r>
            <a:r>
              <a:rPr lang="fr-FR" err="1"/>
              <a:t>project</a:t>
            </a:r>
            <a:r>
              <a:rPr lang="fr-FR"/>
              <a:t> </a:t>
            </a:r>
            <a:r>
              <a:rPr lang="fr-FR" err="1"/>
              <a:t>with</a:t>
            </a:r>
            <a:br>
              <a:rPr lang="fr-FR"/>
            </a:br>
            <a:r>
              <a:rPr lang="fr-FR"/>
              <a:t>the command line: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5F4DA9-5BC2-4F13-9325-B2EF45E6BCDC}"/>
              </a:ext>
            </a:extLst>
          </p:cNvPr>
          <p:cNvSpPr txBox="1"/>
          <p:nvPr/>
        </p:nvSpPr>
        <p:spPr>
          <a:xfrm>
            <a:off x="682760" y="2968990"/>
            <a:ext cx="730866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/>
              <a:t>	This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create</a:t>
            </a:r>
            <a:r>
              <a:rPr lang="fr-FR"/>
              <a:t> a directory </a:t>
            </a:r>
            <a:r>
              <a:rPr lang="fr-FR" err="1"/>
              <a:t>with</a:t>
            </a:r>
            <a:r>
              <a:rPr lang="fr-FR"/>
              <a:t> </a:t>
            </a:r>
            <a:r>
              <a:rPr lang="fr-FR" err="1"/>
              <a:t>different</a:t>
            </a:r>
            <a:r>
              <a:rPr lang="fr-FR"/>
              <a:t> files and </a:t>
            </a:r>
            <a:r>
              <a:rPr lang="fr-FR" err="1"/>
              <a:t>subfolders</a:t>
            </a:r>
            <a:r>
              <a:rPr lang="fr-FR"/>
              <a:t>: </a:t>
            </a:r>
          </a:p>
          <a:p>
            <a:endParaRPr lang="fr-FR"/>
          </a:p>
          <a:p>
            <a:br>
              <a:rPr lang="fr-FR"/>
            </a:br>
            <a:endParaRPr lang="fr-F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017000-1419-4922-B3C6-45A6F5E54C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324" y="2782831"/>
            <a:ext cx="3622210" cy="124731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0DC59A7-A8DC-4551-AC6A-854AB3E981E3}"/>
              </a:ext>
            </a:extLst>
          </p:cNvPr>
          <p:cNvSpPr txBox="1"/>
          <p:nvPr/>
        </p:nvSpPr>
        <p:spPr>
          <a:xfrm>
            <a:off x="2164615" y="3929736"/>
            <a:ext cx="9320372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  <a:p>
            <a:r>
              <a:rPr lang="fr-FR" err="1"/>
              <a:t>Scrapy</a:t>
            </a:r>
            <a:r>
              <a:rPr lang="fr-FR"/>
              <a:t> </a:t>
            </a:r>
            <a:r>
              <a:rPr lang="fr-FR" err="1"/>
              <a:t>works</a:t>
            </a:r>
            <a:r>
              <a:rPr lang="fr-FR"/>
              <a:t> </a:t>
            </a:r>
            <a:r>
              <a:rPr lang="fr-FR" err="1"/>
              <a:t>with</a:t>
            </a:r>
            <a:r>
              <a:rPr lang="fr-FR"/>
              <a:t> spiders, </a:t>
            </a:r>
            <a:r>
              <a:rPr lang="fr-FR" err="1"/>
              <a:t>which</a:t>
            </a:r>
            <a:r>
              <a:rPr lang="fr-FR"/>
              <a:t> are classes </a:t>
            </a:r>
            <a:r>
              <a:rPr lang="fr-FR" err="1"/>
              <a:t>that</a:t>
            </a:r>
            <a:r>
              <a:rPr lang="fr-FR"/>
              <a:t>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define</a:t>
            </a:r>
            <a:r>
              <a:rPr lang="fr-FR"/>
              <a:t> and </a:t>
            </a:r>
            <a:r>
              <a:rPr lang="fr-FR" err="1"/>
              <a:t>that</a:t>
            </a:r>
            <a:r>
              <a:rPr lang="fr-FR"/>
              <a:t> </a:t>
            </a:r>
            <a:r>
              <a:rPr lang="fr-FR" err="1"/>
              <a:t>Scrapy</a:t>
            </a:r>
            <a:r>
              <a:rPr lang="fr-FR"/>
              <a:t> uses to </a:t>
            </a:r>
            <a:br>
              <a:rPr lang="fr-FR"/>
            </a:br>
            <a:r>
              <a:rPr lang="fr-FR" err="1"/>
              <a:t>scrape</a:t>
            </a:r>
            <a:r>
              <a:rPr lang="fr-FR"/>
              <a:t> information </a:t>
            </a:r>
            <a:r>
              <a:rPr lang="fr-FR" err="1"/>
              <a:t>from</a:t>
            </a:r>
            <a:r>
              <a:rPr lang="fr-FR"/>
              <a:t> a </a:t>
            </a:r>
            <a:r>
              <a:rPr lang="fr-FR" err="1"/>
              <a:t>website</a:t>
            </a:r>
            <a:r>
              <a:rPr lang="fr-FR"/>
              <a:t> (or a group of </a:t>
            </a:r>
            <a:r>
              <a:rPr lang="fr-FR" err="1"/>
              <a:t>website</a:t>
            </a:r>
            <a:r>
              <a:rPr lang="fr-FR"/>
              <a:t>). </a:t>
            </a:r>
          </a:p>
          <a:p>
            <a:endParaRPr lang="fr-FR"/>
          </a:p>
          <a:p>
            <a:r>
              <a:rPr lang="fr-FR" err="1"/>
              <a:t>They</a:t>
            </a:r>
            <a:r>
              <a:rPr lang="fr-FR"/>
              <a:t> must </a:t>
            </a:r>
            <a:r>
              <a:rPr lang="fr-FR" err="1"/>
              <a:t>define</a:t>
            </a:r>
            <a:r>
              <a:rPr lang="fr-FR"/>
              <a:t> the initial </a:t>
            </a:r>
            <a:r>
              <a:rPr lang="fr-FR" err="1"/>
              <a:t>requests</a:t>
            </a:r>
            <a:r>
              <a:rPr lang="fr-FR"/>
              <a:t> to </a:t>
            </a:r>
            <a:r>
              <a:rPr lang="fr-FR" err="1"/>
              <a:t>make</a:t>
            </a:r>
            <a:r>
              <a:rPr lang="fr-FR"/>
              <a:t>, </a:t>
            </a:r>
            <a:r>
              <a:rPr lang="fr-FR" err="1"/>
              <a:t>optionally</a:t>
            </a:r>
            <a:r>
              <a:rPr lang="fr-FR"/>
              <a:t> how to follow links on pages, and</a:t>
            </a:r>
            <a:br>
              <a:rPr lang="fr-FR"/>
            </a:br>
            <a:r>
              <a:rPr lang="fr-FR"/>
              <a:t>how to </a:t>
            </a:r>
            <a:r>
              <a:rPr lang="fr-FR" err="1"/>
              <a:t>parse</a:t>
            </a:r>
            <a:r>
              <a:rPr lang="fr-FR"/>
              <a:t> the </a:t>
            </a:r>
            <a:r>
              <a:rPr lang="fr-FR" err="1"/>
              <a:t>downloaded</a:t>
            </a:r>
            <a:r>
              <a:rPr lang="fr-FR"/>
              <a:t> page content to </a:t>
            </a:r>
            <a:r>
              <a:rPr lang="fr-FR" err="1"/>
              <a:t>extract</a:t>
            </a:r>
            <a:r>
              <a:rPr lang="fr-FR"/>
              <a:t> data. </a:t>
            </a:r>
          </a:p>
          <a:p>
            <a:endParaRPr lang="fr-FR"/>
          </a:p>
          <a:p>
            <a:r>
              <a:rPr lang="fr-FR"/>
              <a:t>You can </a:t>
            </a:r>
            <a:r>
              <a:rPr lang="fr-FR" err="1"/>
              <a:t>write</a:t>
            </a:r>
            <a:r>
              <a:rPr lang="fr-FR"/>
              <a:t> a spider </a:t>
            </a:r>
            <a:r>
              <a:rPr lang="fr-FR" err="1"/>
              <a:t>inside</a:t>
            </a:r>
            <a:r>
              <a:rPr lang="fr-FR"/>
              <a:t> a .</a:t>
            </a:r>
            <a:r>
              <a:rPr lang="fr-FR" err="1"/>
              <a:t>py</a:t>
            </a:r>
            <a:r>
              <a:rPr lang="fr-FR"/>
              <a:t> script, or </a:t>
            </a:r>
            <a:r>
              <a:rPr lang="fr-FR" err="1"/>
              <a:t>you</a:t>
            </a:r>
            <a:r>
              <a:rPr lang="fr-FR"/>
              <a:t> can use </a:t>
            </a:r>
            <a:r>
              <a:rPr lang="fr-FR" err="1"/>
              <a:t>Jupyter’s</a:t>
            </a:r>
            <a:r>
              <a:rPr lang="fr-FR"/>
              <a:t> notebook. 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10218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/>
              <a:t>Hands-on 1: </a:t>
            </a:r>
            <a:r>
              <a:rPr lang="en-US" sz="2800" err="1"/>
              <a:t>Scrapy</a:t>
            </a:r>
            <a:endParaRPr lang="en-US" sz="2800"/>
          </a:p>
        </p:txBody>
      </p:sp>
      <p:sp>
        <p:nvSpPr>
          <p:cNvPr id="36" name="Rectangle 35"/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Explore the 1</a:t>
            </a:r>
            <a:r>
              <a:rPr lang="en-US" sz="2400" b="1" baseline="30000">
                <a:solidFill>
                  <a:schemeClr val="tx2"/>
                </a:solidFill>
              </a:rPr>
              <a:t>st</a:t>
            </a:r>
            <a:r>
              <a:rPr lang="en-US" sz="2400" b="1">
                <a:solidFill>
                  <a:schemeClr val="tx2"/>
                </a:solidFill>
              </a:rPr>
              <a:t> notebook and explain what it does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0626289" y="1103115"/>
            <a:ext cx="1368151" cy="461665"/>
            <a:chOff x="1098030" y="5226606"/>
            <a:chExt cx="1368151" cy="461665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2400">
                  <a:solidFill>
                    <a:schemeClr val="bg1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15’</a:t>
              </a:r>
            </a:p>
          </p:txBody>
        </p:sp>
      </p:grpSp>
      <p:sp>
        <p:nvSpPr>
          <p:cNvPr id="52" name="Rounded Rectangle 51"/>
          <p:cNvSpPr/>
          <p:nvPr/>
        </p:nvSpPr>
        <p:spPr>
          <a:xfrm>
            <a:off x="10574303" y="1041866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1BFD06-38A4-4877-9D2E-F0DF71320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4025" y="2668160"/>
            <a:ext cx="3523950" cy="35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0204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Hands-on 1</a:t>
            </a:r>
            <a:r>
              <a:rPr lang="en-US" sz="2800"/>
              <a:t>: </a:t>
            </a:r>
            <a:r>
              <a:rPr lang="en-US" sz="2800" err="1"/>
              <a:t>Scrapy</a:t>
            </a:r>
            <a:endParaRPr lang="en-US" sz="2800"/>
          </a:p>
        </p:txBody>
      </p:sp>
      <p:sp>
        <p:nvSpPr>
          <p:cNvPr id="36" name="Rectangle 35"/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Restitution by 1 group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0626289" y="1103115"/>
            <a:ext cx="1368151" cy="461665"/>
            <a:chOff x="1098030" y="5226606"/>
            <a:chExt cx="1368151" cy="461665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2400">
                  <a:solidFill>
                    <a:schemeClr val="bg1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5’</a:t>
              </a:r>
            </a:p>
          </p:txBody>
        </p:sp>
      </p:grpSp>
      <p:sp>
        <p:nvSpPr>
          <p:cNvPr id="52" name="Rounded Rectangle 51"/>
          <p:cNvSpPr/>
          <p:nvPr/>
        </p:nvSpPr>
        <p:spPr>
          <a:xfrm>
            <a:off x="10574303" y="1041866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212" y="2781470"/>
            <a:ext cx="3563576" cy="356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6957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Scraping with </a:t>
            </a:r>
            <a:r>
              <a:rPr lang="en-US" err="1"/>
              <a:t>Scrapy</a:t>
            </a:r>
            <a:r>
              <a:rPr lang="en-US"/>
              <a:t>: Spiders</a:t>
            </a:r>
            <a:endParaRPr lang="en-US" sz="2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117C3E5-F5DE-49B9-81AB-34FB0DB426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2790" y="1909550"/>
            <a:ext cx="5153744" cy="30388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90A7003-7B8A-4569-BA65-AF4220C30432}"/>
              </a:ext>
            </a:extLst>
          </p:cNvPr>
          <p:cNvSpPr txBox="1"/>
          <p:nvPr/>
        </p:nvSpPr>
        <p:spPr>
          <a:xfrm>
            <a:off x="385466" y="1909550"/>
            <a:ext cx="624480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err="1"/>
              <a:t>We</a:t>
            </a:r>
            <a:r>
              <a:rPr lang="fr-FR"/>
              <a:t> </a:t>
            </a:r>
            <a:r>
              <a:rPr lang="fr-FR" err="1"/>
              <a:t>define</a:t>
            </a:r>
            <a:r>
              <a:rPr lang="fr-FR"/>
              <a:t> </a:t>
            </a:r>
            <a:r>
              <a:rPr lang="fr-FR" err="1"/>
              <a:t>our</a:t>
            </a:r>
            <a:r>
              <a:rPr lang="fr-FR"/>
              <a:t> spider </a:t>
            </a:r>
            <a:r>
              <a:rPr lang="fr-FR" err="1"/>
              <a:t>with</a:t>
            </a:r>
            <a:r>
              <a:rPr lang="fr-FR"/>
              <a:t> the </a:t>
            </a:r>
            <a:r>
              <a:rPr lang="fr-FR" err="1"/>
              <a:t>subclass</a:t>
            </a:r>
            <a:r>
              <a:rPr lang="fr-FR"/>
              <a:t> </a:t>
            </a:r>
            <a:r>
              <a:rPr lang="fr-FR" err="1"/>
              <a:t>scrapy.Spider</a:t>
            </a:r>
            <a:r>
              <a:rPr lang="fr-FR"/>
              <a:t>, and </a:t>
            </a:r>
            <a:r>
              <a:rPr lang="fr-FR" err="1"/>
              <a:t>defines</a:t>
            </a:r>
            <a:r>
              <a:rPr lang="fr-FR"/>
              <a:t> </a:t>
            </a:r>
            <a:r>
              <a:rPr lang="fr-FR" err="1"/>
              <a:t>some</a:t>
            </a:r>
            <a:r>
              <a:rPr lang="fr-FR"/>
              <a:t> </a:t>
            </a:r>
            <a:r>
              <a:rPr lang="fr-FR" err="1"/>
              <a:t>attributes</a:t>
            </a:r>
            <a:r>
              <a:rPr lang="fr-FR"/>
              <a:t> and </a:t>
            </a:r>
            <a:r>
              <a:rPr lang="fr-FR" err="1"/>
              <a:t>methods</a:t>
            </a:r>
            <a:r>
              <a:rPr lang="fr-FR"/>
              <a:t>: </a:t>
            </a:r>
            <a:br>
              <a:rPr lang="fr-FR"/>
            </a:br>
            <a:endParaRPr lang="fr-FR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fr-FR"/>
              <a:t>: identifies the Spider, must </a:t>
            </a:r>
            <a:r>
              <a:rPr lang="fr-FR" err="1"/>
              <a:t>be</a:t>
            </a:r>
            <a:r>
              <a:rPr lang="fr-FR"/>
              <a:t> unique </a:t>
            </a:r>
            <a:r>
              <a:rPr lang="fr-FR" err="1"/>
              <a:t>within</a:t>
            </a:r>
            <a:r>
              <a:rPr lang="fr-FR"/>
              <a:t> a </a:t>
            </a:r>
            <a:r>
              <a:rPr lang="fr-FR" err="1"/>
              <a:t>project</a:t>
            </a:r>
            <a:endParaRPr lang="fr-FR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err="1">
                <a:latin typeface="Courier New" panose="02070309020205020404" pitchFamily="49" charset="0"/>
                <a:cs typeface="Courier New" panose="02070309020205020404" pitchFamily="49" charset="0"/>
              </a:rPr>
              <a:t>start_requests</a:t>
            </a:r>
            <a:r>
              <a:rPr lang="fr-FR">
                <a:latin typeface="Courier New" panose="02070309020205020404" pitchFamily="49" charset="0"/>
                <a:cs typeface="Courier New" panose="02070309020205020404" pitchFamily="49" charset="0"/>
              </a:rPr>
              <a:t>(): </a:t>
            </a:r>
            <a:r>
              <a:rPr lang="fr-FR"/>
              <a:t>must return an </a:t>
            </a:r>
            <a:r>
              <a:rPr lang="fr-FR" err="1"/>
              <a:t>iterable</a:t>
            </a:r>
            <a:r>
              <a:rPr lang="fr-FR"/>
              <a:t> of </a:t>
            </a:r>
            <a:r>
              <a:rPr lang="fr-FR" err="1"/>
              <a:t>Requests</a:t>
            </a:r>
            <a:r>
              <a:rPr lang="fr-FR"/>
              <a:t> </a:t>
            </a:r>
            <a:r>
              <a:rPr lang="fr-FR" err="1"/>
              <a:t>which</a:t>
            </a:r>
            <a:r>
              <a:rPr lang="fr-FR"/>
              <a:t> the Spider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gin</a:t>
            </a:r>
            <a:r>
              <a:rPr lang="fr-FR"/>
              <a:t> to crawl </a:t>
            </a:r>
            <a:r>
              <a:rPr lang="fr-FR" err="1"/>
              <a:t>from</a:t>
            </a:r>
            <a:r>
              <a:rPr lang="fr-FR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err="1">
                <a:latin typeface="Courier New" panose="02070309020205020404" pitchFamily="49" charset="0"/>
                <a:cs typeface="Courier New" panose="02070309020205020404" pitchFamily="49" charset="0"/>
              </a:rPr>
              <a:t>parse</a:t>
            </a:r>
            <a:r>
              <a:rPr lang="fr-FR">
                <a:latin typeface="Courier New" panose="02070309020205020404" pitchFamily="49" charset="0"/>
                <a:cs typeface="Courier New" panose="02070309020205020404" pitchFamily="49" charset="0"/>
              </a:rPr>
              <a:t>(): </a:t>
            </a:r>
            <a:r>
              <a:rPr lang="fr-FR" err="1"/>
              <a:t>method</a:t>
            </a:r>
            <a:r>
              <a:rPr lang="fr-FR"/>
              <a:t> </a:t>
            </a:r>
            <a:r>
              <a:rPr lang="fr-FR" err="1"/>
              <a:t>tha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called</a:t>
            </a:r>
            <a:r>
              <a:rPr lang="fr-FR"/>
              <a:t> to </a:t>
            </a:r>
            <a:r>
              <a:rPr lang="fr-FR" err="1"/>
              <a:t>handle</a:t>
            </a:r>
            <a:r>
              <a:rPr lang="fr-FR"/>
              <a:t> the </a:t>
            </a:r>
            <a:r>
              <a:rPr lang="fr-FR" err="1"/>
              <a:t>response</a:t>
            </a:r>
            <a:r>
              <a:rPr lang="fr-FR"/>
              <a:t> </a:t>
            </a:r>
            <a:r>
              <a:rPr lang="fr-FR" err="1"/>
              <a:t>downloaded</a:t>
            </a:r>
            <a:r>
              <a:rPr lang="fr-FR"/>
              <a:t> for </a:t>
            </a:r>
            <a:r>
              <a:rPr lang="fr-FR" err="1"/>
              <a:t>each</a:t>
            </a:r>
            <a:r>
              <a:rPr lang="fr-FR"/>
              <a:t> of the </a:t>
            </a:r>
            <a:r>
              <a:rPr lang="fr-FR" err="1"/>
              <a:t>requests</a:t>
            </a:r>
            <a:r>
              <a:rPr lang="fr-FR"/>
              <a:t> mad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/>
          </a:p>
          <a:p>
            <a:r>
              <a:rPr lang="fr-FR"/>
              <a:t>	The </a:t>
            </a:r>
            <a:r>
              <a:rPr lang="fr-FR" err="1">
                <a:latin typeface="Courier New" panose="02070309020205020404" pitchFamily="49" charset="0"/>
                <a:cs typeface="Courier New" panose="02070309020205020404" pitchFamily="49" charset="0"/>
              </a:rPr>
              <a:t>parse</a:t>
            </a:r>
            <a:r>
              <a:rPr lang="fr-FR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fr-FR" err="1"/>
              <a:t>method</a:t>
            </a:r>
            <a:r>
              <a:rPr lang="fr-FR"/>
              <a:t> </a:t>
            </a:r>
            <a:r>
              <a:rPr lang="fr-FR" err="1"/>
              <a:t>usually</a:t>
            </a:r>
            <a:r>
              <a:rPr lang="fr-FR"/>
              <a:t> </a:t>
            </a:r>
            <a:r>
              <a:rPr lang="fr-FR" err="1"/>
              <a:t>parses</a:t>
            </a:r>
            <a:r>
              <a:rPr lang="fr-FR"/>
              <a:t> the </a:t>
            </a:r>
            <a:r>
              <a:rPr lang="fr-FR" err="1"/>
              <a:t>response</a:t>
            </a:r>
            <a:r>
              <a:rPr lang="fr-FR"/>
              <a:t>, </a:t>
            </a:r>
            <a:r>
              <a:rPr lang="fr-FR" err="1"/>
              <a:t>extracting</a:t>
            </a:r>
            <a:r>
              <a:rPr lang="fr-FR"/>
              <a:t> the </a:t>
            </a:r>
            <a:r>
              <a:rPr lang="fr-FR" err="1"/>
              <a:t>scraped</a:t>
            </a:r>
            <a:r>
              <a:rPr lang="fr-FR"/>
              <a:t> data as dicts and </a:t>
            </a:r>
            <a:r>
              <a:rPr lang="fr-FR" err="1"/>
              <a:t>finding</a:t>
            </a:r>
            <a:r>
              <a:rPr lang="fr-FR"/>
              <a:t> new URLs to follow and </a:t>
            </a:r>
            <a:r>
              <a:rPr lang="fr-FR" err="1"/>
              <a:t>creating</a:t>
            </a:r>
            <a:r>
              <a:rPr lang="fr-FR"/>
              <a:t> new </a:t>
            </a:r>
            <a:r>
              <a:rPr lang="fr-FR" err="1"/>
              <a:t>requests</a:t>
            </a:r>
            <a:r>
              <a:rPr lang="fr-FR"/>
              <a:t> </a:t>
            </a:r>
            <a:r>
              <a:rPr lang="fr-FR" err="1"/>
              <a:t>from</a:t>
            </a:r>
            <a:r>
              <a:rPr lang="fr-FR"/>
              <a:t> </a:t>
            </a:r>
            <a:r>
              <a:rPr lang="fr-FR" err="1"/>
              <a:t>them</a:t>
            </a:r>
            <a:r>
              <a:rPr lang="fr-FR"/>
              <a:t>. </a:t>
            </a:r>
          </a:p>
          <a:p>
            <a:endParaRPr lang="fr-FR"/>
          </a:p>
        </p:txBody>
      </p:sp>
      <p:pic>
        <p:nvPicPr>
          <p:cNvPr id="13" name="Graphic 12" descr="Thumbs Up Sign">
            <a:extLst>
              <a:ext uri="{FF2B5EF4-FFF2-40B4-BE49-F238E27FC236}">
                <a16:creationId xmlns:a16="http://schemas.microsoft.com/office/drawing/2014/main" id="{BBAE3C52-8CD7-4F85-A9FA-DD06A88769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7989" y="5665804"/>
            <a:ext cx="671201" cy="67120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AAE37BB-66DA-43D4-8214-9534B06825B6}"/>
              </a:ext>
            </a:extLst>
          </p:cNvPr>
          <p:cNvSpPr txBox="1"/>
          <p:nvPr/>
        </p:nvSpPr>
        <p:spPr>
          <a:xfrm>
            <a:off x="1101713" y="5827610"/>
            <a:ext cx="106558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>
                <a:solidFill>
                  <a:schemeClr val="accent6">
                    <a:lumMod val="75000"/>
                  </a:schemeClr>
                </a:solidFill>
              </a:rPr>
              <a:t>TIPS</a:t>
            </a:r>
            <a:r>
              <a:rPr lang="fr-FR"/>
              <a:t>: As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may</a:t>
            </a:r>
            <a:r>
              <a:rPr lang="fr-FR"/>
              <a:t> have </a:t>
            </a:r>
            <a:r>
              <a:rPr lang="fr-FR" err="1"/>
              <a:t>noticed</a:t>
            </a:r>
            <a:r>
              <a:rPr lang="fr-FR"/>
              <a:t> in the first notebook, </a:t>
            </a:r>
            <a:r>
              <a:rPr lang="fr-FR" err="1"/>
              <a:t>you</a:t>
            </a:r>
            <a:r>
              <a:rPr lang="fr-FR"/>
              <a:t> can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define</a:t>
            </a:r>
            <a:r>
              <a:rPr lang="fr-FR"/>
              <a:t> a </a:t>
            </a:r>
            <a:r>
              <a:rPr lang="fr-FR" err="1">
                <a:latin typeface="Courier New" panose="02070309020205020404" pitchFamily="49" charset="0"/>
                <a:cs typeface="Courier New" panose="02070309020205020404" pitchFamily="49" charset="0"/>
              </a:rPr>
              <a:t>start_urls</a:t>
            </a:r>
            <a:r>
              <a:rPr lang="fr-FR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/>
              <a:t>class </a:t>
            </a:r>
            <a:r>
              <a:rPr lang="fr-FR" err="1"/>
              <a:t>attribute</a:t>
            </a:r>
            <a:br>
              <a:rPr lang="fr-FR"/>
            </a:br>
            <a:r>
              <a:rPr lang="fr-FR" err="1"/>
              <a:t>with</a:t>
            </a:r>
            <a:r>
              <a:rPr lang="fr-FR"/>
              <a:t> a </a:t>
            </a:r>
            <a:r>
              <a:rPr lang="fr-FR" err="1"/>
              <a:t>list</a:t>
            </a:r>
            <a:r>
              <a:rPr lang="fr-FR"/>
              <a:t> of URLs </a:t>
            </a:r>
            <a:r>
              <a:rPr lang="fr-FR" err="1"/>
              <a:t>instead</a:t>
            </a:r>
            <a:r>
              <a:rPr lang="fr-FR"/>
              <a:t> of </a:t>
            </a:r>
            <a:r>
              <a:rPr lang="fr-FR" err="1"/>
              <a:t>defining</a:t>
            </a:r>
            <a:r>
              <a:rPr lang="fr-FR"/>
              <a:t> a </a:t>
            </a:r>
            <a:r>
              <a:rPr lang="fr-FR" err="1">
                <a:latin typeface="Courier New" panose="02070309020205020404" pitchFamily="49" charset="0"/>
                <a:cs typeface="Courier New" panose="02070309020205020404" pitchFamily="49" charset="0"/>
              </a:rPr>
              <a:t>start_requests</a:t>
            </a:r>
            <a:r>
              <a:rPr lang="fr-FR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r>
              <a:rPr lang="fr-FR" err="1"/>
              <a:t>method</a:t>
            </a:r>
            <a:r>
              <a:rPr lang="fr-FR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1939533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91635E3-F78F-4A55-A715-6B1D7AF40466}"/>
              </a:ext>
            </a:extLst>
          </p:cNvPr>
          <p:cNvSpPr/>
          <p:nvPr/>
        </p:nvSpPr>
        <p:spPr>
          <a:xfrm>
            <a:off x="2379811" y="1371578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Exploring a websit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Scraping with </a:t>
            </a:r>
            <a:r>
              <a:rPr lang="en-US" err="1"/>
              <a:t>Scrapy</a:t>
            </a:r>
            <a:r>
              <a:rPr lang="en-US"/>
              <a:t>: Shell and Selectors</a:t>
            </a:r>
            <a:endParaRPr lang="en-US" sz="28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8DBE2C-8751-4056-B696-664C1DD89F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4711" y="1997028"/>
            <a:ext cx="1642581" cy="16425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02433FD-68C5-4718-8FD7-8AC4585934CD}"/>
              </a:ext>
            </a:extLst>
          </p:cNvPr>
          <p:cNvSpPr txBox="1"/>
          <p:nvPr/>
        </p:nvSpPr>
        <p:spPr>
          <a:xfrm>
            <a:off x="407989" y="2356654"/>
            <a:ext cx="851170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err="1"/>
              <a:t>Scrapy</a:t>
            </a:r>
            <a:r>
              <a:rPr lang="fr-FR"/>
              <a:t> uses </a:t>
            </a:r>
            <a:r>
              <a:rPr lang="fr-FR" err="1"/>
              <a:t>its</a:t>
            </a:r>
            <a:r>
              <a:rPr lang="fr-FR"/>
              <a:t> </a:t>
            </a:r>
            <a:r>
              <a:rPr lang="fr-FR" err="1"/>
              <a:t>own</a:t>
            </a:r>
            <a:r>
              <a:rPr lang="fr-FR"/>
              <a:t> </a:t>
            </a:r>
            <a:r>
              <a:rPr lang="fr-FR" err="1"/>
              <a:t>mechanism</a:t>
            </a:r>
            <a:r>
              <a:rPr lang="fr-FR"/>
              <a:t> to </a:t>
            </a:r>
            <a:r>
              <a:rPr lang="fr-FR" err="1"/>
              <a:t>parse</a:t>
            </a:r>
            <a:r>
              <a:rPr lang="fr-FR"/>
              <a:t> pages, </a:t>
            </a:r>
            <a:r>
              <a:rPr lang="fr-FR" err="1"/>
              <a:t>called</a:t>
            </a:r>
            <a:r>
              <a:rPr lang="fr-FR"/>
              <a:t> </a:t>
            </a:r>
            <a:r>
              <a:rPr lang="fr-FR" err="1"/>
              <a:t>Selectors</a:t>
            </a:r>
            <a:r>
              <a:rPr lang="fr-FR"/>
              <a:t>, </a:t>
            </a:r>
            <a:r>
              <a:rPr lang="fr-FR" err="1"/>
              <a:t>based</a:t>
            </a:r>
            <a:r>
              <a:rPr lang="fr-FR"/>
              <a:t> on </a:t>
            </a:r>
            <a:r>
              <a:rPr lang="fr-FR" i="1" err="1"/>
              <a:t>lxml</a:t>
            </a:r>
            <a:r>
              <a:rPr lang="fr-FR"/>
              <a:t>, a Python XML </a:t>
            </a:r>
            <a:r>
              <a:rPr lang="fr-FR" err="1"/>
              <a:t>parser</a:t>
            </a:r>
            <a:r>
              <a:rPr lang="fr-FR"/>
              <a:t>. The best </a:t>
            </a:r>
            <a:r>
              <a:rPr lang="fr-FR" err="1"/>
              <a:t>way</a:t>
            </a:r>
            <a:r>
              <a:rPr lang="fr-FR"/>
              <a:t> to </a:t>
            </a:r>
            <a:r>
              <a:rPr lang="fr-FR" err="1"/>
              <a:t>learn</a:t>
            </a:r>
            <a:r>
              <a:rPr lang="fr-FR"/>
              <a:t> how to </a:t>
            </a:r>
            <a:r>
              <a:rPr lang="fr-FR" err="1"/>
              <a:t>extract</a:t>
            </a:r>
            <a:r>
              <a:rPr lang="fr-FR"/>
              <a:t> data </a:t>
            </a:r>
            <a:r>
              <a:rPr lang="fr-FR" err="1"/>
              <a:t>with</a:t>
            </a:r>
            <a:r>
              <a:rPr lang="fr-FR"/>
              <a:t> </a:t>
            </a:r>
            <a:r>
              <a:rPr lang="fr-FR" err="1"/>
              <a:t>Selectors</a:t>
            </a:r>
            <a:r>
              <a:rPr lang="fr-FR"/>
              <a:t> </a:t>
            </a:r>
            <a:r>
              <a:rPr lang="fr-FR" err="1"/>
              <a:t>is</a:t>
            </a:r>
            <a:r>
              <a:rPr lang="fr-FR"/>
              <a:t> to use the </a:t>
            </a:r>
            <a:r>
              <a:rPr lang="fr-FR" i="1" err="1"/>
              <a:t>Scrapy</a:t>
            </a:r>
            <a:r>
              <a:rPr lang="fr-FR" i="1"/>
              <a:t> </a:t>
            </a:r>
            <a:r>
              <a:rPr lang="fr-FR" i="1" err="1"/>
              <a:t>shell</a:t>
            </a:r>
            <a:r>
              <a:rPr lang="fr-FR" i="1"/>
              <a:t>.</a:t>
            </a:r>
          </a:p>
          <a:p>
            <a:endParaRPr lang="fr-FR" i="1"/>
          </a:p>
          <a:p>
            <a:r>
              <a:rPr lang="fr-FR"/>
              <a:t>You can launch the </a:t>
            </a:r>
            <a:r>
              <a:rPr lang="fr-FR" err="1"/>
              <a:t>Scrapy</a:t>
            </a:r>
            <a:r>
              <a:rPr lang="fr-FR"/>
              <a:t> </a:t>
            </a:r>
            <a:r>
              <a:rPr lang="fr-FR" err="1"/>
              <a:t>shell</a:t>
            </a:r>
            <a:r>
              <a:rPr lang="fr-FR"/>
              <a:t> </a:t>
            </a:r>
            <a:r>
              <a:rPr lang="fr-FR" err="1"/>
              <a:t>using</a:t>
            </a:r>
            <a:r>
              <a:rPr lang="fr-FR"/>
              <a:t> 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D77BBA9-3246-42B1-909F-1954C61F3773}"/>
              </a:ext>
            </a:extLst>
          </p:cNvPr>
          <p:cNvSpPr/>
          <p:nvPr/>
        </p:nvSpPr>
        <p:spPr>
          <a:xfrm>
            <a:off x="4439279" y="3492464"/>
            <a:ext cx="4480412" cy="341518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apy</a:t>
            </a:r>
            <a:r>
              <a:rPr lang="fr-FR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hell</a:t>
            </a:r>
            <a:r>
              <a:rPr lang="fr-FR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‘</a:t>
            </a:r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rl_to_explore</a:t>
            </a:r>
            <a:r>
              <a:rPr lang="fr-FR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’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ED0154-B7E5-492B-90AC-996535F6D0C8}"/>
              </a:ext>
            </a:extLst>
          </p:cNvPr>
          <p:cNvSpPr txBox="1"/>
          <p:nvPr/>
        </p:nvSpPr>
        <p:spPr>
          <a:xfrm>
            <a:off x="4211165" y="4030041"/>
            <a:ext cx="37921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/>
              <a:t>You </a:t>
            </a:r>
            <a:r>
              <a:rPr lang="fr-FR" err="1"/>
              <a:t>should</a:t>
            </a:r>
            <a:r>
              <a:rPr lang="fr-FR"/>
              <a:t> </a:t>
            </a:r>
            <a:r>
              <a:rPr lang="fr-FR" err="1"/>
              <a:t>see</a:t>
            </a:r>
            <a:r>
              <a:rPr lang="fr-FR"/>
              <a:t> </a:t>
            </a:r>
            <a:r>
              <a:rPr lang="fr-FR" err="1"/>
              <a:t>something</a:t>
            </a:r>
            <a:r>
              <a:rPr lang="fr-FR"/>
              <a:t> like </a:t>
            </a:r>
            <a:r>
              <a:rPr lang="fr-FR" err="1"/>
              <a:t>this</a:t>
            </a:r>
            <a:r>
              <a:rPr lang="fr-FR"/>
              <a:t>: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92472D5-1111-4356-823B-7F4D0AA3F5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69" y="4505299"/>
            <a:ext cx="10864262" cy="210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2757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Scraping with </a:t>
            </a:r>
            <a:r>
              <a:rPr lang="en-US" err="1"/>
              <a:t>Scrapy</a:t>
            </a:r>
            <a:r>
              <a:rPr lang="en-US"/>
              <a:t>: Shell and Selectors</a:t>
            </a:r>
            <a:endParaRPr lang="en-US" sz="2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3A9EEA9-1808-4B59-903E-1A55DCB4418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806" y="1673606"/>
            <a:ext cx="1570728" cy="157072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566F7F7-9D55-419B-8180-3F5B486E2D2D}"/>
              </a:ext>
            </a:extLst>
          </p:cNvPr>
          <p:cNvSpPr txBox="1"/>
          <p:nvPr/>
        </p:nvSpPr>
        <p:spPr>
          <a:xfrm>
            <a:off x="407989" y="1585152"/>
            <a:ext cx="90231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/>
              <a:t>You can use the </a:t>
            </a:r>
            <a:r>
              <a:rPr lang="fr-FR" b="1">
                <a:solidFill>
                  <a:srgbClr val="22759E"/>
                </a:solidFill>
              </a:rPr>
              <a:t>Shell</a:t>
            </a:r>
            <a:r>
              <a:rPr lang="fr-FR"/>
              <a:t> to </a:t>
            </a:r>
            <a:r>
              <a:rPr lang="fr-FR" b="1">
                <a:solidFill>
                  <a:srgbClr val="22759E"/>
                </a:solidFill>
              </a:rPr>
              <a:t>select </a:t>
            </a:r>
            <a:r>
              <a:rPr lang="fr-FR" b="1" err="1">
                <a:solidFill>
                  <a:srgbClr val="22759E"/>
                </a:solidFill>
              </a:rPr>
              <a:t>elements</a:t>
            </a:r>
            <a:r>
              <a:rPr lang="fr-FR" b="1">
                <a:solidFill>
                  <a:srgbClr val="22759E"/>
                </a:solidFill>
              </a:rPr>
              <a:t> </a:t>
            </a:r>
            <a:r>
              <a:rPr lang="fr-FR" err="1"/>
              <a:t>using</a:t>
            </a:r>
            <a:r>
              <a:rPr lang="fr-FR"/>
              <a:t> CSS or XPath </a:t>
            </a:r>
            <a:r>
              <a:rPr lang="fr-FR" err="1"/>
              <a:t>with</a:t>
            </a:r>
            <a:r>
              <a:rPr lang="fr-FR"/>
              <a:t> the </a:t>
            </a:r>
            <a:r>
              <a:rPr lang="fr-FR" err="1"/>
              <a:t>response</a:t>
            </a:r>
            <a:r>
              <a:rPr lang="fr-FR"/>
              <a:t> </a:t>
            </a:r>
            <a:r>
              <a:rPr lang="fr-FR" err="1"/>
              <a:t>object</a:t>
            </a:r>
            <a:r>
              <a:rPr lang="fr-FR"/>
              <a:t>. </a:t>
            </a:r>
          </a:p>
          <a:p>
            <a:r>
              <a:rPr lang="fr-FR"/>
              <a:t>For </a:t>
            </a:r>
            <a:r>
              <a:rPr lang="fr-FR" err="1"/>
              <a:t>example</a:t>
            </a:r>
            <a:r>
              <a:rPr lang="fr-FR"/>
              <a:t>, on </a:t>
            </a:r>
            <a:r>
              <a:rPr lang="fr-FR" b="1"/>
              <a:t>TripAdvisor</a:t>
            </a:r>
            <a:r>
              <a:rPr lang="fr-FR"/>
              <a:t>, </a:t>
            </a:r>
            <a:r>
              <a:rPr lang="fr-FR" err="1"/>
              <a:t>you</a:t>
            </a:r>
            <a:r>
              <a:rPr lang="fr-FR"/>
              <a:t> can select </a:t>
            </a:r>
            <a:r>
              <a:rPr lang="fr-FR" err="1"/>
              <a:t>reviews</a:t>
            </a:r>
            <a:r>
              <a:rPr lang="fr-FR"/>
              <a:t>’ URLs </a:t>
            </a:r>
            <a:r>
              <a:rPr lang="fr-FR" err="1"/>
              <a:t>using</a:t>
            </a:r>
            <a:r>
              <a:rPr lang="fr-FR"/>
              <a:t>: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B06A287-3105-47B3-A5DB-F7AB10CC9FE7}"/>
              </a:ext>
            </a:extLst>
          </p:cNvPr>
          <p:cNvSpPr/>
          <p:nvPr/>
        </p:nvSpPr>
        <p:spPr>
          <a:xfrm>
            <a:off x="661481" y="2408735"/>
            <a:ext cx="8044773" cy="341518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ponse.xpath</a:t>
            </a:r>
            <a:r>
              <a:rPr lang="fr-FR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//div[</a:t>
            </a:r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ains</a:t>
            </a:r>
            <a:r>
              <a:rPr lang="fr-FR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@class,'</a:t>
            </a:r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uote</a:t>
            </a:r>
            <a:r>
              <a:rPr lang="fr-FR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)]/a/@href"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E6D114-A1DA-49B8-9B64-738389E9C3CB}"/>
              </a:ext>
            </a:extLst>
          </p:cNvPr>
          <p:cNvSpPr txBox="1"/>
          <p:nvPr/>
        </p:nvSpPr>
        <p:spPr>
          <a:xfrm>
            <a:off x="407989" y="3021489"/>
            <a:ext cx="36153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err="1"/>
              <a:t>which</a:t>
            </a:r>
            <a:r>
              <a:rPr lang="fr-FR"/>
              <a:t> </a:t>
            </a:r>
            <a:r>
              <a:rPr lang="fr-FR" err="1"/>
              <a:t>gives</a:t>
            </a:r>
            <a:r>
              <a:rPr lang="fr-FR"/>
              <a:t> the </a:t>
            </a:r>
            <a:r>
              <a:rPr lang="fr-FR" err="1"/>
              <a:t>following</a:t>
            </a:r>
            <a:r>
              <a:rPr lang="fr-FR"/>
              <a:t> output: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A7D95D6-932F-4A91-9678-6C1E8E890A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9" y="3609341"/>
            <a:ext cx="11460174" cy="138131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79EE91B-8F4F-4CB2-A8C3-5E89DD57F57D}"/>
              </a:ext>
            </a:extLst>
          </p:cNvPr>
          <p:cNvSpPr txBox="1"/>
          <p:nvPr/>
        </p:nvSpPr>
        <p:spPr>
          <a:xfrm>
            <a:off x="407989" y="5267227"/>
            <a:ext cx="1180496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/>
              <a:t>This output </a:t>
            </a:r>
            <a:r>
              <a:rPr lang="fr-FR" err="1"/>
              <a:t>is</a:t>
            </a:r>
            <a:r>
              <a:rPr lang="fr-FR"/>
              <a:t> a </a:t>
            </a:r>
            <a:r>
              <a:rPr lang="fr-FR" err="1"/>
              <a:t>list</a:t>
            </a:r>
            <a:r>
              <a:rPr lang="fr-FR"/>
              <a:t>-like </a:t>
            </a:r>
            <a:r>
              <a:rPr lang="fr-FR" err="1"/>
              <a:t>object</a:t>
            </a:r>
            <a:r>
              <a:rPr lang="fr-FR"/>
              <a:t> </a:t>
            </a:r>
            <a:r>
              <a:rPr lang="fr-FR" err="1"/>
              <a:t>called</a:t>
            </a:r>
            <a:r>
              <a:rPr lang="fr-FR"/>
              <a:t> </a:t>
            </a:r>
            <a:r>
              <a:rPr lang="fr-FR" err="1">
                <a:latin typeface="Courier New" panose="02070309020205020404" pitchFamily="49" charset="0"/>
                <a:cs typeface="Courier New" panose="02070309020205020404" pitchFamily="49" charset="0"/>
              </a:rPr>
              <a:t>SelectorList</a:t>
            </a:r>
            <a:r>
              <a:rPr lang="fr-FR"/>
              <a:t>, </a:t>
            </a:r>
            <a:r>
              <a:rPr lang="fr-FR" err="1"/>
              <a:t>which</a:t>
            </a:r>
            <a:r>
              <a:rPr lang="fr-FR"/>
              <a:t> </a:t>
            </a:r>
            <a:r>
              <a:rPr lang="fr-FR" err="1"/>
              <a:t>represents</a:t>
            </a:r>
            <a:r>
              <a:rPr lang="fr-FR"/>
              <a:t> a </a:t>
            </a:r>
            <a:r>
              <a:rPr lang="fr-FR" err="1"/>
              <a:t>list</a:t>
            </a:r>
            <a:r>
              <a:rPr lang="fr-FR"/>
              <a:t> of </a:t>
            </a:r>
            <a:r>
              <a:rPr lang="fr-FR" i="1" err="1"/>
              <a:t>Selector</a:t>
            </a:r>
            <a:r>
              <a:rPr lang="fr-FR"/>
              <a:t> </a:t>
            </a:r>
            <a:r>
              <a:rPr lang="fr-FR" err="1"/>
              <a:t>objects</a:t>
            </a:r>
            <a:r>
              <a:rPr lang="fr-FR"/>
              <a:t> </a:t>
            </a:r>
            <a:r>
              <a:rPr lang="fr-FR" err="1"/>
              <a:t>you</a:t>
            </a:r>
            <a:r>
              <a:rPr lang="fr-FR"/>
              <a:t> can </a:t>
            </a:r>
            <a:r>
              <a:rPr lang="fr-FR" err="1"/>
              <a:t>extract</a:t>
            </a:r>
            <a:r>
              <a:rPr lang="fr-FR"/>
              <a:t>.</a:t>
            </a:r>
          </a:p>
          <a:p>
            <a:endParaRPr lang="fr-FR"/>
          </a:p>
          <a:p>
            <a:r>
              <a:rPr lang="fr-FR" b="1">
                <a:solidFill>
                  <a:srgbClr val="22759E"/>
                </a:solidFill>
              </a:rPr>
              <a:t>More information on </a:t>
            </a:r>
            <a:r>
              <a:rPr lang="fr-FR" b="1" err="1">
                <a:solidFill>
                  <a:srgbClr val="22759E"/>
                </a:solidFill>
              </a:rPr>
              <a:t>Scrapy’s</a:t>
            </a:r>
            <a:r>
              <a:rPr lang="fr-FR" b="1">
                <a:solidFill>
                  <a:srgbClr val="22759E"/>
                </a:solidFill>
              </a:rPr>
              <a:t> </a:t>
            </a:r>
            <a:r>
              <a:rPr lang="fr-FR" b="1" err="1">
                <a:solidFill>
                  <a:srgbClr val="22759E"/>
                </a:solidFill>
              </a:rPr>
              <a:t>selectors</a:t>
            </a:r>
            <a:r>
              <a:rPr lang="fr-FR"/>
              <a:t>: </a:t>
            </a:r>
            <a:r>
              <a:rPr lang="fr-FR">
                <a:hlinkClick r:id="rId4"/>
              </a:rPr>
              <a:t>https://docs.scrapy.org/en/latest/topics/selectors.html#topics-selectors</a:t>
            </a:r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3115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86187" y="1685924"/>
            <a:ext cx="7815262" cy="46258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250000"/>
              </a:lnSpc>
              <a:buAutoNum type="arabicPeriod"/>
            </a:pPr>
            <a:r>
              <a:rPr lang="fr-FR" b="1" err="1">
                <a:solidFill>
                  <a:schemeClr val="tx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view</a:t>
            </a:r>
            <a:r>
              <a:rPr lang="fr-FR" b="1">
                <a:solidFill>
                  <a:schemeClr val="tx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of </a:t>
            </a:r>
            <a:r>
              <a:rPr lang="fr-FR" b="1" err="1">
                <a:solidFill>
                  <a:schemeClr val="tx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gress</a:t>
            </a:r>
            <a:r>
              <a:rPr lang="fr-FR" b="1">
                <a:solidFill>
                  <a:schemeClr val="tx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mad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XPath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ing with </a:t>
            </a:r>
            <a:r>
              <a:rPr lang="en-US" err="1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y</a:t>
            </a:r>
            <a:endParaRPr lang="en-US">
              <a:solidFill>
                <a:schemeClr val="tx1">
                  <a:lumMod val="50000"/>
                  <a:lumOff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PI’s at a glanc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Business Cas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mmary of the session</a:t>
            </a:r>
          </a:p>
          <a:p>
            <a:pPr marL="342900" indent="-342900">
              <a:lnSpc>
                <a:spcPct val="20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 next week...</a:t>
            </a:r>
            <a:endParaRPr lang="fr-FR">
              <a:solidFill>
                <a:schemeClr val="tx1">
                  <a:lumMod val="50000"/>
                  <a:lumOff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2272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9" y="230246"/>
            <a:ext cx="11398545" cy="1044574"/>
          </a:xfrm>
        </p:spPr>
        <p:txBody>
          <a:bodyPr>
            <a:noAutofit/>
          </a:bodyPr>
          <a:lstStyle/>
          <a:p>
            <a:r>
              <a:rPr lang="en-US"/>
              <a:t>Scraping with </a:t>
            </a:r>
            <a:r>
              <a:rPr lang="en-US" err="1"/>
              <a:t>Scrapy</a:t>
            </a:r>
            <a:r>
              <a:rPr lang="en-US"/>
              <a:t>: Storing data</a:t>
            </a:r>
            <a:endParaRPr lang="en-US" sz="2800"/>
          </a:p>
        </p:txBody>
      </p:sp>
      <p:pic>
        <p:nvPicPr>
          <p:cNvPr id="3" name="Graphic 2" descr="Disk">
            <a:extLst>
              <a:ext uri="{FF2B5EF4-FFF2-40B4-BE49-F238E27FC236}">
                <a16:creationId xmlns:a16="http://schemas.microsoft.com/office/drawing/2014/main" id="{45E98918-C401-4536-979C-C3E39F374A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3520" y="1884680"/>
            <a:ext cx="914400" cy="9144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E110BB1-53D1-4DE1-B701-14DF7F003906}"/>
              </a:ext>
            </a:extLst>
          </p:cNvPr>
          <p:cNvSpPr txBox="1"/>
          <p:nvPr/>
        </p:nvSpPr>
        <p:spPr>
          <a:xfrm>
            <a:off x="1137920" y="1884680"/>
            <a:ext cx="461264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/>
              <a:t>The </a:t>
            </a:r>
            <a:r>
              <a:rPr lang="fr-FR" err="1"/>
              <a:t>easiest</a:t>
            </a:r>
            <a:r>
              <a:rPr lang="fr-FR"/>
              <a:t> </a:t>
            </a:r>
            <a:r>
              <a:rPr lang="fr-FR" err="1"/>
              <a:t>way</a:t>
            </a:r>
            <a:r>
              <a:rPr lang="fr-FR"/>
              <a:t> to store </a:t>
            </a:r>
            <a:r>
              <a:rPr lang="fr-FR" err="1"/>
              <a:t>your</a:t>
            </a:r>
            <a:r>
              <a:rPr lang="fr-FR"/>
              <a:t> </a:t>
            </a:r>
            <a:r>
              <a:rPr lang="fr-FR" err="1"/>
              <a:t>scraped</a:t>
            </a:r>
            <a:r>
              <a:rPr lang="fr-FR"/>
              <a:t> data </a:t>
            </a:r>
            <a:r>
              <a:rPr lang="fr-FR" err="1"/>
              <a:t>is</a:t>
            </a:r>
            <a:r>
              <a:rPr lang="fr-FR"/>
              <a:t> by </a:t>
            </a:r>
            <a:r>
              <a:rPr lang="fr-FR" err="1"/>
              <a:t>using</a:t>
            </a:r>
            <a:r>
              <a:rPr lang="fr-FR"/>
              <a:t> </a:t>
            </a:r>
            <a:r>
              <a:rPr lang="fr-FR" err="1"/>
              <a:t>Feed</a:t>
            </a:r>
            <a:r>
              <a:rPr lang="fr-FR"/>
              <a:t> exports, </a:t>
            </a:r>
            <a:r>
              <a:rPr lang="fr-FR" err="1"/>
              <a:t>with</a:t>
            </a:r>
            <a:r>
              <a:rPr lang="fr-FR"/>
              <a:t> the </a:t>
            </a:r>
            <a:r>
              <a:rPr lang="fr-FR" err="1"/>
              <a:t>following</a:t>
            </a:r>
            <a:r>
              <a:rPr lang="fr-FR"/>
              <a:t> command: 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4B6537A-0F25-4C58-B91B-734101A504F1}"/>
              </a:ext>
            </a:extLst>
          </p:cNvPr>
          <p:cNvSpPr/>
          <p:nvPr/>
        </p:nvSpPr>
        <p:spPr>
          <a:xfrm>
            <a:off x="6107261" y="2097071"/>
            <a:ext cx="5353219" cy="341518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apy</a:t>
            </a:r>
            <a:r>
              <a:rPr lang="fr-FR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rawl </a:t>
            </a:r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ider_name</a:t>
            </a:r>
            <a:r>
              <a:rPr lang="fr-FR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–o </a:t>
            </a:r>
            <a:r>
              <a:rPr lang="fr-FR" err="1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.json</a:t>
            </a:r>
            <a:r>
              <a:rPr lang="fr-FR">
                <a:solidFill>
                  <a:srgbClr val="3DBFA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pic>
        <p:nvPicPr>
          <p:cNvPr id="7" name="Graphic 6" descr="Warning">
            <a:extLst>
              <a:ext uri="{FF2B5EF4-FFF2-40B4-BE49-F238E27FC236}">
                <a16:creationId xmlns:a16="http://schemas.microsoft.com/office/drawing/2014/main" id="{3823E460-5CFF-4A50-A729-653A26DC2F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989" y="3576320"/>
            <a:ext cx="604520" cy="60452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E706354-F7C5-4DAA-B368-0A1023597036}"/>
              </a:ext>
            </a:extLst>
          </p:cNvPr>
          <p:cNvSpPr txBox="1"/>
          <p:nvPr/>
        </p:nvSpPr>
        <p:spPr>
          <a:xfrm>
            <a:off x="1137920" y="3566160"/>
            <a:ext cx="1045747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err="1"/>
              <a:t>Saving</a:t>
            </a:r>
            <a:r>
              <a:rPr lang="fr-FR"/>
              <a:t> </a:t>
            </a:r>
            <a:r>
              <a:rPr lang="fr-FR" err="1"/>
              <a:t>your</a:t>
            </a:r>
            <a:r>
              <a:rPr lang="fr-FR"/>
              <a:t> data </a:t>
            </a:r>
            <a:r>
              <a:rPr lang="fr-FR" err="1"/>
              <a:t>using</a:t>
            </a:r>
            <a:r>
              <a:rPr lang="fr-FR"/>
              <a:t> the JSON format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only</a:t>
            </a:r>
            <a:r>
              <a:rPr lang="fr-FR"/>
              <a:t> </a:t>
            </a:r>
            <a:r>
              <a:rPr lang="fr-FR" err="1"/>
              <a:t>work</a:t>
            </a:r>
            <a:r>
              <a:rPr lang="fr-FR"/>
              <a:t> once, </a:t>
            </a:r>
            <a:r>
              <a:rPr lang="fr-FR" err="1"/>
              <a:t>since</a:t>
            </a:r>
            <a:r>
              <a:rPr lang="fr-FR"/>
              <a:t> </a:t>
            </a:r>
            <a:r>
              <a:rPr lang="fr-FR" err="1"/>
              <a:t>Scrapy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append to a </a:t>
            </a:r>
            <a:r>
              <a:rPr lang="fr-FR" err="1"/>
              <a:t>given</a:t>
            </a:r>
            <a:r>
              <a:rPr lang="fr-FR"/>
              <a:t> file</a:t>
            </a:r>
            <a:br>
              <a:rPr lang="fr-FR"/>
            </a:br>
            <a:r>
              <a:rPr lang="fr-FR" err="1"/>
              <a:t>instead</a:t>
            </a:r>
            <a:r>
              <a:rPr lang="fr-FR"/>
              <a:t> of </a:t>
            </a:r>
            <a:r>
              <a:rPr lang="fr-FR" err="1"/>
              <a:t>overwriting</a:t>
            </a:r>
            <a:r>
              <a:rPr lang="fr-FR"/>
              <a:t> </a:t>
            </a:r>
            <a:r>
              <a:rPr lang="fr-FR" err="1"/>
              <a:t>its</a:t>
            </a:r>
            <a:r>
              <a:rPr lang="fr-FR"/>
              <a:t> contents. If </a:t>
            </a:r>
            <a:r>
              <a:rPr lang="fr-FR" err="1"/>
              <a:t>you</a:t>
            </a:r>
            <a:r>
              <a:rPr lang="fr-FR"/>
              <a:t> run the command </a:t>
            </a:r>
            <a:r>
              <a:rPr lang="fr-FR" err="1"/>
              <a:t>twice</a:t>
            </a:r>
            <a:r>
              <a:rPr lang="fr-FR"/>
              <a:t> </a:t>
            </a:r>
            <a:r>
              <a:rPr lang="fr-FR" err="1"/>
              <a:t>without</a:t>
            </a:r>
            <a:r>
              <a:rPr lang="fr-FR"/>
              <a:t> </a:t>
            </a:r>
            <a:r>
              <a:rPr lang="fr-FR" err="1"/>
              <a:t>deleting</a:t>
            </a:r>
            <a:r>
              <a:rPr lang="fr-FR"/>
              <a:t> the file </a:t>
            </a:r>
            <a:r>
              <a:rPr lang="fr-FR" err="1"/>
              <a:t>before</a:t>
            </a:r>
            <a:r>
              <a:rPr lang="fr-FR"/>
              <a:t> the </a:t>
            </a:r>
            <a:br>
              <a:rPr lang="fr-FR"/>
            </a:br>
            <a:r>
              <a:rPr lang="fr-FR"/>
              <a:t>second time, </a:t>
            </a:r>
            <a:r>
              <a:rPr lang="fr-FR" err="1"/>
              <a:t>you’ll</a:t>
            </a:r>
            <a:r>
              <a:rPr lang="fr-FR"/>
              <a:t> end up </a:t>
            </a:r>
            <a:r>
              <a:rPr lang="fr-FR" err="1"/>
              <a:t>with</a:t>
            </a:r>
            <a:r>
              <a:rPr lang="fr-FR"/>
              <a:t> a </a:t>
            </a:r>
            <a:r>
              <a:rPr lang="fr-FR" err="1"/>
              <a:t>broken</a:t>
            </a:r>
            <a:r>
              <a:rPr lang="fr-FR"/>
              <a:t> JSON file. </a:t>
            </a:r>
          </a:p>
        </p:txBody>
      </p:sp>
      <p:pic>
        <p:nvPicPr>
          <p:cNvPr id="17" name="Graphic 16" descr="Arrow: Slight curve">
            <a:extLst>
              <a:ext uri="{FF2B5EF4-FFF2-40B4-BE49-F238E27FC236}">
                <a16:creationId xmlns:a16="http://schemas.microsoft.com/office/drawing/2014/main" id="{D545D11A-6432-4D1F-AA9C-AE0A08C242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109" y="4912360"/>
            <a:ext cx="914400" cy="9144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7136570-D17F-4C3A-8AA7-DEB59E17B19B}"/>
              </a:ext>
            </a:extLst>
          </p:cNvPr>
          <p:cNvSpPr txBox="1"/>
          <p:nvPr/>
        </p:nvSpPr>
        <p:spPr>
          <a:xfrm>
            <a:off x="1137920" y="5090420"/>
            <a:ext cx="9408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/>
              <a:t>You can </a:t>
            </a:r>
            <a:r>
              <a:rPr lang="fr-FR" err="1"/>
              <a:t>also</a:t>
            </a:r>
            <a:r>
              <a:rPr lang="fr-FR"/>
              <a:t> use JSON Lines format (</a:t>
            </a:r>
            <a:r>
              <a:rPr lang="fr-FR" err="1"/>
              <a:t>file.jl</a:t>
            </a:r>
            <a:r>
              <a:rPr lang="fr-FR"/>
              <a:t>) </a:t>
            </a:r>
            <a:r>
              <a:rPr lang="fr-FR" err="1"/>
              <a:t>instead</a:t>
            </a:r>
            <a:r>
              <a:rPr lang="fr-FR"/>
              <a:t>, </a:t>
            </a:r>
            <a:r>
              <a:rPr lang="fr-FR" err="1"/>
              <a:t>which</a:t>
            </a:r>
            <a:r>
              <a:rPr lang="fr-FR"/>
              <a:t> </a:t>
            </a:r>
            <a:r>
              <a:rPr lang="fr-FR" err="1"/>
              <a:t>doesn’t</a:t>
            </a:r>
            <a:r>
              <a:rPr lang="fr-FR"/>
              <a:t> have the </a:t>
            </a:r>
            <a:r>
              <a:rPr lang="fr-FR" err="1"/>
              <a:t>same</a:t>
            </a:r>
            <a:r>
              <a:rPr lang="fr-FR"/>
              <a:t> </a:t>
            </a:r>
            <a:r>
              <a:rPr lang="fr-FR" err="1"/>
              <a:t>problem</a:t>
            </a:r>
            <a:r>
              <a:rPr lang="fr-FR"/>
              <a:t> of JSON if </a:t>
            </a:r>
            <a:r>
              <a:rPr lang="fr-FR" err="1"/>
              <a:t>you</a:t>
            </a:r>
            <a:r>
              <a:rPr lang="fr-FR"/>
              <a:t> run </a:t>
            </a:r>
            <a:r>
              <a:rPr lang="fr-FR" err="1"/>
              <a:t>twice</a:t>
            </a:r>
            <a:r>
              <a:rPr lang="fr-FR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186744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/>
              <a:t>Hands-on 2: </a:t>
            </a:r>
            <a:r>
              <a:rPr lang="en-US" sz="2800" err="1"/>
              <a:t>Scrapy</a:t>
            </a:r>
            <a:endParaRPr lang="en-US" sz="2800"/>
          </a:p>
        </p:txBody>
      </p:sp>
      <p:sp>
        <p:nvSpPr>
          <p:cNvPr id="36" name="Rectangle 35"/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Use the 2</a:t>
            </a:r>
            <a:r>
              <a:rPr lang="en-US" sz="2400" b="1" baseline="30000">
                <a:solidFill>
                  <a:schemeClr val="tx2"/>
                </a:solidFill>
              </a:rPr>
              <a:t>nd</a:t>
            </a:r>
            <a:r>
              <a:rPr lang="en-US" sz="2400" b="1">
                <a:solidFill>
                  <a:schemeClr val="tx2"/>
                </a:solidFill>
              </a:rPr>
              <a:t> notebook to scrape one page of TripAdvisor’s comments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0626289" y="1103115"/>
            <a:ext cx="1368151" cy="461665"/>
            <a:chOff x="1098030" y="5226606"/>
            <a:chExt cx="1368151" cy="461665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2400">
                  <a:solidFill>
                    <a:schemeClr val="bg1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45’</a:t>
              </a:r>
            </a:p>
          </p:txBody>
        </p:sp>
      </p:grpSp>
      <p:sp>
        <p:nvSpPr>
          <p:cNvPr id="52" name="Rounded Rectangle 51"/>
          <p:cNvSpPr/>
          <p:nvPr/>
        </p:nvSpPr>
        <p:spPr>
          <a:xfrm>
            <a:off x="10574303" y="1041866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1BFD06-38A4-4877-9D2E-F0DF71320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4025" y="2668160"/>
            <a:ext cx="3523950" cy="35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7444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Hands-on 1</a:t>
            </a:r>
            <a:r>
              <a:rPr lang="en-US" sz="2800"/>
              <a:t>: </a:t>
            </a:r>
            <a:r>
              <a:rPr lang="en-US" sz="2800" err="1"/>
              <a:t>Scrapy</a:t>
            </a:r>
            <a:endParaRPr lang="en-US" sz="2800"/>
          </a:p>
        </p:txBody>
      </p:sp>
      <p:sp>
        <p:nvSpPr>
          <p:cNvPr id="36" name="Rectangle 35"/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Restitution by 1 group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0626289" y="1103115"/>
            <a:ext cx="1368151" cy="461665"/>
            <a:chOff x="1098030" y="5226606"/>
            <a:chExt cx="1368151" cy="461665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2400">
                  <a:solidFill>
                    <a:schemeClr val="bg1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5’</a:t>
              </a:r>
            </a:p>
          </p:txBody>
        </p:sp>
      </p:grpSp>
      <p:sp>
        <p:nvSpPr>
          <p:cNvPr id="52" name="Rounded Rectangle 51"/>
          <p:cNvSpPr/>
          <p:nvPr/>
        </p:nvSpPr>
        <p:spPr>
          <a:xfrm>
            <a:off x="10574303" y="1041866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212" y="2781470"/>
            <a:ext cx="3563576" cy="356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7851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Scraping with </a:t>
            </a:r>
            <a:r>
              <a:rPr lang="en-US" err="1"/>
              <a:t>Scrapy</a:t>
            </a:r>
            <a:r>
              <a:rPr lang="en-US"/>
              <a:t>: Crawling</a:t>
            </a:r>
            <a:endParaRPr lang="en-US" sz="28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C13C34-53C4-47DE-BD73-C6C4DBAE15BE}"/>
              </a:ext>
            </a:extLst>
          </p:cNvPr>
          <p:cNvSpPr txBox="1"/>
          <p:nvPr/>
        </p:nvSpPr>
        <p:spPr>
          <a:xfrm>
            <a:off x="407989" y="1643974"/>
            <a:ext cx="1157592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err="1"/>
              <a:t>Now</a:t>
            </a:r>
            <a:r>
              <a:rPr lang="fr-FR"/>
              <a:t> </a:t>
            </a:r>
            <a:r>
              <a:rPr lang="fr-FR" err="1"/>
              <a:t>that</a:t>
            </a:r>
            <a:r>
              <a:rPr lang="fr-FR"/>
              <a:t> </a:t>
            </a:r>
            <a:r>
              <a:rPr lang="fr-FR" err="1"/>
              <a:t>you</a:t>
            </a:r>
            <a:r>
              <a:rPr lang="fr-FR"/>
              <a:t> know how to </a:t>
            </a:r>
            <a:r>
              <a:rPr lang="fr-FR" err="1"/>
              <a:t>extract</a:t>
            </a:r>
            <a:r>
              <a:rPr lang="fr-FR"/>
              <a:t> data </a:t>
            </a:r>
            <a:r>
              <a:rPr lang="fr-FR" err="1"/>
              <a:t>from</a:t>
            </a:r>
            <a:r>
              <a:rPr lang="fr-FR"/>
              <a:t> one page, </a:t>
            </a:r>
            <a:r>
              <a:rPr lang="fr-FR" err="1"/>
              <a:t>we</a:t>
            </a:r>
            <a:r>
              <a:rPr lang="fr-FR"/>
              <a:t> </a:t>
            </a:r>
            <a:r>
              <a:rPr lang="fr-FR" err="1"/>
              <a:t>need</a:t>
            </a:r>
            <a:r>
              <a:rPr lang="fr-FR"/>
              <a:t> to </a:t>
            </a:r>
            <a:r>
              <a:rPr lang="fr-FR" err="1"/>
              <a:t>see</a:t>
            </a:r>
            <a:r>
              <a:rPr lang="fr-FR"/>
              <a:t> how to follow links</a:t>
            </a:r>
          </a:p>
          <a:p>
            <a:r>
              <a:rPr lang="fr-FR" err="1"/>
              <a:t>from</a:t>
            </a:r>
            <a:r>
              <a:rPr lang="fr-FR"/>
              <a:t> one page to </a:t>
            </a:r>
            <a:r>
              <a:rPr lang="fr-FR" err="1"/>
              <a:t>another</a:t>
            </a:r>
            <a:r>
              <a:rPr lang="fr-FR"/>
              <a:t>, </a:t>
            </a:r>
            <a:r>
              <a:rPr lang="fr-FR" err="1"/>
              <a:t>so</a:t>
            </a:r>
            <a:r>
              <a:rPr lang="fr-FR"/>
              <a:t> </a:t>
            </a:r>
            <a:r>
              <a:rPr lang="fr-FR" err="1"/>
              <a:t>that</a:t>
            </a:r>
            <a:r>
              <a:rPr lang="fr-FR"/>
              <a:t> </a:t>
            </a:r>
            <a:r>
              <a:rPr lang="fr-FR" err="1"/>
              <a:t>you’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able to </a:t>
            </a:r>
            <a:r>
              <a:rPr lang="fr-FR" err="1"/>
              <a:t>scrape</a:t>
            </a:r>
            <a:r>
              <a:rPr lang="fr-FR"/>
              <a:t> a full </a:t>
            </a:r>
            <a:r>
              <a:rPr lang="fr-FR" err="1"/>
              <a:t>website</a:t>
            </a:r>
            <a:r>
              <a:rPr lang="fr-FR"/>
              <a:t> on </a:t>
            </a:r>
            <a:r>
              <a:rPr lang="fr-FR" err="1"/>
              <a:t>your</a:t>
            </a:r>
            <a:r>
              <a:rPr lang="fr-FR"/>
              <a:t> </a:t>
            </a:r>
            <a:r>
              <a:rPr lang="fr-FR" err="1"/>
              <a:t>own</a:t>
            </a:r>
            <a:r>
              <a:rPr lang="fr-FR"/>
              <a:t> ! </a:t>
            </a:r>
          </a:p>
          <a:p>
            <a:endParaRPr lang="fr-FR"/>
          </a:p>
          <a:p>
            <a:r>
              <a:rPr lang="fr-FR" err="1"/>
              <a:t>Crawling</a:t>
            </a:r>
            <a:r>
              <a:rPr lang="fr-FR"/>
              <a:t> </a:t>
            </a:r>
            <a:r>
              <a:rPr lang="fr-FR" err="1"/>
              <a:t>using</a:t>
            </a:r>
            <a:r>
              <a:rPr lang="fr-FR"/>
              <a:t> </a:t>
            </a:r>
            <a:r>
              <a:rPr lang="fr-FR" err="1"/>
              <a:t>Scrapy</a:t>
            </a:r>
            <a:r>
              <a:rPr lang="fr-FR"/>
              <a:t> </a:t>
            </a:r>
            <a:r>
              <a:rPr lang="fr-FR" err="1"/>
              <a:t>is</a:t>
            </a:r>
            <a:r>
              <a:rPr lang="fr-FR"/>
              <a:t> made of 3 </a:t>
            </a:r>
            <a:r>
              <a:rPr lang="fr-FR" err="1"/>
              <a:t>steps</a:t>
            </a:r>
            <a:r>
              <a:rPr lang="fr-FR"/>
              <a:t>: </a:t>
            </a:r>
          </a:p>
          <a:p>
            <a:endParaRPr lang="fr-FR"/>
          </a:p>
          <a:p>
            <a:pPr marL="342900" indent="-342900">
              <a:buFont typeface="+mj-lt"/>
              <a:buAutoNum type="arabicPeriod"/>
            </a:pPr>
            <a:r>
              <a:rPr lang="fr-FR" err="1"/>
              <a:t>Identiyfing</a:t>
            </a:r>
            <a:r>
              <a:rPr lang="fr-FR"/>
              <a:t> the </a:t>
            </a:r>
            <a:r>
              <a:rPr lang="fr-FR" err="1"/>
              <a:t>link</a:t>
            </a:r>
            <a:r>
              <a:rPr lang="fr-FR"/>
              <a:t>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ant</a:t>
            </a:r>
            <a:r>
              <a:rPr lang="fr-FR"/>
              <a:t> to follow </a:t>
            </a:r>
            <a:r>
              <a:rPr lang="fr-FR" err="1"/>
              <a:t>with</a:t>
            </a:r>
            <a:r>
              <a:rPr lang="fr-FR"/>
              <a:t> </a:t>
            </a:r>
            <a:r>
              <a:rPr lang="fr-FR" err="1"/>
              <a:t>Selectors</a:t>
            </a:r>
            <a:r>
              <a:rPr lang="fr-FR"/>
              <a:t> in the </a:t>
            </a:r>
            <a:r>
              <a:rPr lang="fr-FR" err="1"/>
              <a:t>Scrapy</a:t>
            </a:r>
            <a:r>
              <a:rPr lang="fr-FR"/>
              <a:t> Shell (or </a:t>
            </a:r>
            <a:r>
              <a:rPr lang="fr-FR" err="1"/>
              <a:t>using</a:t>
            </a:r>
            <a:r>
              <a:rPr lang="fr-FR"/>
              <a:t> </a:t>
            </a:r>
            <a:r>
              <a:rPr lang="fr-FR" err="1"/>
              <a:t>tools</a:t>
            </a:r>
            <a:r>
              <a:rPr lang="fr-FR"/>
              <a:t> like </a:t>
            </a:r>
            <a:r>
              <a:rPr lang="fr-FR" err="1"/>
              <a:t>SelectorGadget</a:t>
            </a:r>
            <a:r>
              <a:rPr lang="fr-FR"/>
              <a:t>…)</a:t>
            </a:r>
          </a:p>
          <a:p>
            <a:pPr marL="342900" indent="-342900">
              <a:buFont typeface="+mj-lt"/>
              <a:buAutoNum type="arabicPeriod"/>
            </a:pPr>
            <a:r>
              <a:rPr lang="fr-FR" err="1"/>
              <a:t>Extracting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 </a:t>
            </a:r>
            <a:r>
              <a:rPr lang="fr-FR" err="1"/>
              <a:t>link</a:t>
            </a:r>
            <a:r>
              <a:rPr lang="fr-FR"/>
              <a:t> </a:t>
            </a:r>
            <a:r>
              <a:rPr lang="fr-FR" err="1"/>
              <a:t>using</a:t>
            </a:r>
            <a:r>
              <a:rPr lang="fr-FR"/>
              <a:t> the </a:t>
            </a:r>
            <a:r>
              <a:rPr lang="fr-FR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fr-FR" err="1">
                <a:latin typeface="Courier New" panose="02070309020205020404" pitchFamily="49" charset="0"/>
                <a:cs typeface="Courier New" panose="02070309020205020404" pitchFamily="49" charset="0"/>
              </a:rPr>
              <a:t>extract</a:t>
            </a:r>
            <a:r>
              <a:rPr lang="fr-FR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r>
              <a:rPr lang="fr-FR" err="1"/>
              <a:t>method</a:t>
            </a:r>
            <a:endParaRPr lang="fr-FR"/>
          </a:p>
          <a:p>
            <a:pPr marL="342900" indent="-342900">
              <a:buFont typeface="+mj-lt"/>
              <a:buAutoNum type="arabicPeriod"/>
            </a:pPr>
            <a:r>
              <a:rPr lang="fr-FR" err="1"/>
              <a:t>Modify</a:t>
            </a:r>
            <a:r>
              <a:rPr lang="fr-FR"/>
              <a:t> the spider to follow the </a:t>
            </a:r>
            <a:r>
              <a:rPr lang="fr-FR" err="1"/>
              <a:t>extracted</a:t>
            </a:r>
            <a:r>
              <a:rPr lang="fr-FR"/>
              <a:t> </a:t>
            </a:r>
            <a:r>
              <a:rPr lang="fr-FR" err="1"/>
              <a:t>link</a:t>
            </a:r>
            <a:r>
              <a:rPr lang="fr-FR"/>
              <a:t> by </a:t>
            </a:r>
            <a:r>
              <a:rPr lang="fr-FR" err="1"/>
              <a:t>adding</a:t>
            </a:r>
            <a:r>
              <a:rPr lang="fr-FR"/>
              <a:t> </a:t>
            </a:r>
            <a:r>
              <a:rPr lang="fr-FR" err="1"/>
              <a:t>it</a:t>
            </a:r>
            <a:r>
              <a:rPr lang="fr-FR"/>
              <a:t> to </a:t>
            </a:r>
            <a:r>
              <a:rPr lang="fr-FR" err="1"/>
              <a:t>your</a:t>
            </a:r>
            <a:r>
              <a:rPr lang="fr-FR"/>
              <a:t> </a:t>
            </a:r>
            <a:r>
              <a:rPr lang="fr-FR" err="1">
                <a:latin typeface="Courier New" panose="02070309020205020404" pitchFamily="49" charset="0"/>
                <a:cs typeface="Courier New" panose="02070309020205020404" pitchFamily="49" charset="0"/>
              </a:rPr>
              <a:t>parse</a:t>
            </a:r>
            <a:r>
              <a:rPr lang="fr-FR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fr-FR" err="1"/>
              <a:t>method</a:t>
            </a:r>
            <a:r>
              <a:rPr lang="fr-FR"/>
              <a:t>: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360D6B-68AA-4CB2-8C45-73B2D4D4073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19"/>
          <a:stretch/>
        </p:blipFill>
        <p:spPr>
          <a:xfrm>
            <a:off x="1182148" y="4301997"/>
            <a:ext cx="9850225" cy="137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7744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Scraping with </a:t>
            </a:r>
            <a:r>
              <a:rPr lang="en-US" err="1"/>
              <a:t>Scrapy</a:t>
            </a:r>
            <a:r>
              <a:rPr lang="en-US"/>
              <a:t>: Crawling</a:t>
            </a:r>
            <a:endParaRPr lang="en-US" sz="2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059620-0A9F-40B3-A9A2-DF7E00068EB1}"/>
              </a:ext>
            </a:extLst>
          </p:cNvPr>
          <p:cNvSpPr/>
          <p:nvPr/>
        </p:nvSpPr>
        <p:spPr>
          <a:xfrm>
            <a:off x="2379811" y="1371578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What just happened 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7A31C0-B6AB-487A-A6D4-CAED19AF3BB2}"/>
              </a:ext>
            </a:extLst>
          </p:cNvPr>
          <p:cNvSpPr txBox="1"/>
          <p:nvPr/>
        </p:nvSpPr>
        <p:spPr>
          <a:xfrm>
            <a:off x="407989" y="2312481"/>
            <a:ext cx="1114847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/>
              <a:t>The </a:t>
            </a:r>
            <a:r>
              <a:rPr lang="fr-FR" err="1">
                <a:latin typeface="Courier New" panose="02070309020205020404" pitchFamily="49" charset="0"/>
                <a:cs typeface="Courier New" panose="02070309020205020404" pitchFamily="49" charset="0"/>
              </a:rPr>
              <a:t>parse</a:t>
            </a:r>
            <a:r>
              <a:rPr lang="fr-FR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r>
              <a:rPr lang="fr-FR" err="1"/>
              <a:t>method</a:t>
            </a:r>
            <a:r>
              <a:rPr lang="fr-FR"/>
              <a:t> looks for the </a:t>
            </a:r>
            <a:r>
              <a:rPr lang="fr-FR" err="1"/>
              <a:t>link</a:t>
            </a:r>
            <a:r>
              <a:rPr lang="fr-FR"/>
              <a:t> to the </a:t>
            </a:r>
            <a:r>
              <a:rPr lang="fr-FR" err="1"/>
              <a:t>next</a:t>
            </a:r>
            <a:r>
              <a:rPr lang="fr-FR"/>
              <a:t> page, </a:t>
            </a:r>
            <a:r>
              <a:rPr lang="fr-FR" err="1"/>
              <a:t>builds</a:t>
            </a:r>
            <a:r>
              <a:rPr lang="fr-FR"/>
              <a:t> a full </a:t>
            </a:r>
            <a:r>
              <a:rPr lang="fr-FR" err="1"/>
              <a:t>absolute</a:t>
            </a:r>
            <a:r>
              <a:rPr lang="fr-FR"/>
              <a:t> URL </a:t>
            </a:r>
            <a:r>
              <a:rPr lang="fr-FR" err="1"/>
              <a:t>using</a:t>
            </a:r>
            <a:br>
              <a:rPr lang="fr-FR"/>
            </a:br>
            <a:r>
              <a:rPr lang="fr-FR"/>
              <a:t>the </a:t>
            </a:r>
            <a:r>
              <a:rPr lang="fr-FR" err="1">
                <a:latin typeface="Courier New" panose="02070309020205020404" pitchFamily="49" charset="0"/>
                <a:cs typeface="Courier New" panose="02070309020205020404" pitchFamily="49" charset="0"/>
              </a:rPr>
              <a:t>urljoin</a:t>
            </a:r>
            <a:r>
              <a:rPr lang="fr-FR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r>
              <a:rPr lang="fr-FR" err="1"/>
              <a:t>method</a:t>
            </a:r>
            <a:r>
              <a:rPr lang="fr-FR"/>
              <a:t> (</a:t>
            </a:r>
            <a:r>
              <a:rPr lang="fr-FR" err="1"/>
              <a:t>since</a:t>
            </a:r>
            <a:r>
              <a:rPr lang="fr-FR"/>
              <a:t> the links can </a:t>
            </a:r>
            <a:r>
              <a:rPr lang="fr-FR" err="1"/>
              <a:t>be</a:t>
            </a:r>
            <a:r>
              <a:rPr lang="fr-FR"/>
              <a:t> relative) and </a:t>
            </a:r>
            <a:r>
              <a:rPr lang="fr-FR" err="1"/>
              <a:t>yields</a:t>
            </a:r>
            <a:r>
              <a:rPr lang="fr-FR"/>
              <a:t> a new </a:t>
            </a:r>
            <a:r>
              <a:rPr lang="fr-FR" err="1"/>
              <a:t>request</a:t>
            </a:r>
            <a:r>
              <a:rPr lang="fr-FR"/>
              <a:t> to the </a:t>
            </a:r>
            <a:r>
              <a:rPr lang="fr-FR" err="1"/>
              <a:t>next</a:t>
            </a:r>
            <a:r>
              <a:rPr lang="fr-FR"/>
              <a:t> page</a:t>
            </a:r>
            <a:br>
              <a:rPr lang="fr-FR"/>
            </a:br>
            <a:r>
              <a:rPr lang="fr-FR" err="1"/>
              <a:t>registering</a:t>
            </a:r>
            <a:r>
              <a:rPr lang="fr-FR"/>
              <a:t> </a:t>
            </a:r>
            <a:r>
              <a:rPr lang="fr-FR" err="1"/>
              <a:t>itself</a:t>
            </a:r>
            <a:r>
              <a:rPr lang="fr-FR"/>
              <a:t> as callback to </a:t>
            </a:r>
            <a:r>
              <a:rPr lang="fr-FR" err="1"/>
              <a:t>handle</a:t>
            </a:r>
            <a:r>
              <a:rPr lang="fr-FR"/>
              <a:t> the data extraction for the </a:t>
            </a:r>
            <a:r>
              <a:rPr lang="fr-FR" err="1"/>
              <a:t>next</a:t>
            </a:r>
            <a:r>
              <a:rPr lang="fr-FR"/>
              <a:t> page and to </a:t>
            </a:r>
            <a:r>
              <a:rPr lang="fr-FR" err="1"/>
              <a:t>keep</a:t>
            </a:r>
            <a:r>
              <a:rPr lang="fr-FR"/>
              <a:t> the </a:t>
            </a:r>
            <a:r>
              <a:rPr lang="fr-FR" err="1"/>
              <a:t>crawling</a:t>
            </a:r>
            <a:r>
              <a:rPr lang="fr-FR"/>
              <a:t> </a:t>
            </a:r>
            <a:r>
              <a:rPr lang="fr-FR" err="1"/>
              <a:t>going</a:t>
            </a:r>
            <a:r>
              <a:rPr lang="fr-FR"/>
              <a:t> </a:t>
            </a:r>
            <a:r>
              <a:rPr lang="fr-FR" err="1"/>
              <a:t>through</a:t>
            </a:r>
            <a:r>
              <a:rPr lang="fr-FR"/>
              <a:t> all the pages.</a:t>
            </a:r>
            <a:br>
              <a:rPr lang="fr-FR"/>
            </a:br>
            <a:endParaRPr lang="fr-FR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err="1"/>
              <a:t>When</a:t>
            </a:r>
            <a:r>
              <a:rPr lang="fr-FR"/>
              <a:t>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yield</a:t>
            </a:r>
            <a:r>
              <a:rPr lang="fr-FR"/>
              <a:t> a </a:t>
            </a:r>
            <a:r>
              <a:rPr lang="fr-FR" err="1"/>
              <a:t>Request</a:t>
            </a:r>
            <a:r>
              <a:rPr lang="fr-FR"/>
              <a:t> in a callback </a:t>
            </a:r>
            <a:r>
              <a:rPr lang="fr-FR" err="1"/>
              <a:t>method</a:t>
            </a:r>
            <a:r>
              <a:rPr lang="fr-FR"/>
              <a:t>, </a:t>
            </a:r>
            <a:r>
              <a:rPr lang="fr-FR" err="1"/>
              <a:t>Scrapy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schedule</a:t>
            </a:r>
            <a:r>
              <a:rPr lang="fr-FR"/>
              <a:t> </a:t>
            </a:r>
            <a:r>
              <a:rPr lang="fr-FR" err="1"/>
              <a:t>that</a:t>
            </a:r>
            <a:r>
              <a:rPr lang="fr-FR"/>
              <a:t> </a:t>
            </a:r>
            <a:r>
              <a:rPr lang="fr-FR" err="1"/>
              <a:t>request</a:t>
            </a:r>
            <a:r>
              <a:rPr lang="fr-FR"/>
              <a:t> to </a:t>
            </a:r>
            <a:r>
              <a:rPr lang="fr-FR" err="1"/>
              <a:t>be</a:t>
            </a:r>
            <a:r>
              <a:rPr lang="fr-FR"/>
              <a:t> sent and </a:t>
            </a:r>
            <a:r>
              <a:rPr lang="fr-FR" err="1"/>
              <a:t>register</a:t>
            </a:r>
            <a:r>
              <a:rPr lang="fr-FR"/>
              <a:t> a </a:t>
            </a:r>
            <a:br>
              <a:rPr lang="fr-FR"/>
            </a:br>
            <a:r>
              <a:rPr lang="fr-FR"/>
              <a:t>callback </a:t>
            </a:r>
            <a:r>
              <a:rPr lang="fr-FR" err="1"/>
              <a:t>method</a:t>
            </a:r>
            <a:r>
              <a:rPr lang="fr-FR"/>
              <a:t> to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xecuted</a:t>
            </a:r>
            <a:r>
              <a:rPr lang="fr-FR"/>
              <a:t> </a:t>
            </a:r>
            <a:r>
              <a:rPr lang="fr-FR" err="1"/>
              <a:t>when</a:t>
            </a:r>
            <a:r>
              <a:rPr lang="fr-FR"/>
              <a:t> </a:t>
            </a:r>
            <a:r>
              <a:rPr lang="fr-FR" err="1"/>
              <a:t>that</a:t>
            </a:r>
            <a:r>
              <a:rPr lang="fr-FR"/>
              <a:t> </a:t>
            </a:r>
            <a:r>
              <a:rPr lang="fr-FR" err="1"/>
              <a:t>request</a:t>
            </a:r>
            <a:r>
              <a:rPr lang="fr-FR"/>
              <a:t> </a:t>
            </a:r>
            <a:r>
              <a:rPr lang="fr-FR" err="1"/>
              <a:t>finishes</a:t>
            </a:r>
            <a:r>
              <a:rPr lang="fr-FR"/>
              <a:t>. </a:t>
            </a:r>
            <a:br>
              <a:rPr lang="fr-FR"/>
            </a:br>
            <a:endParaRPr lang="fr-FR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err="1"/>
              <a:t>Using</a:t>
            </a:r>
            <a:r>
              <a:rPr lang="fr-FR"/>
              <a:t> </a:t>
            </a:r>
            <a:r>
              <a:rPr lang="fr-FR" err="1"/>
              <a:t>these</a:t>
            </a:r>
            <a:r>
              <a:rPr lang="fr-FR"/>
              <a:t> </a:t>
            </a:r>
            <a:r>
              <a:rPr lang="fr-FR" err="1"/>
              <a:t>principles</a:t>
            </a:r>
            <a:r>
              <a:rPr lang="fr-FR"/>
              <a:t>, </a:t>
            </a:r>
            <a:r>
              <a:rPr lang="fr-FR" err="1"/>
              <a:t>you</a:t>
            </a:r>
            <a:r>
              <a:rPr lang="fr-FR"/>
              <a:t> can </a:t>
            </a:r>
            <a:r>
              <a:rPr lang="fr-FR" err="1"/>
              <a:t>build</a:t>
            </a:r>
            <a:r>
              <a:rPr lang="fr-FR"/>
              <a:t> </a:t>
            </a:r>
            <a:r>
              <a:rPr lang="fr-FR" err="1"/>
              <a:t>yourself</a:t>
            </a:r>
            <a:r>
              <a:rPr lang="fr-FR"/>
              <a:t> </a:t>
            </a:r>
            <a:r>
              <a:rPr lang="fr-FR" err="1"/>
              <a:t>powerful</a:t>
            </a:r>
            <a:r>
              <a:rPr lang="fr-FR"/>
              <a:t> </a:t>
            </a:r>
            <a:r>
              <a:rPr lang="fr-FR" err="1"/>
              <a:t>crawlers</a:t>
            </a:r>
            <a:r>
              <a:rPr lang="fr-FR"/>
              <a:t> </a:t>
            </a:r>
            <a:r>
              <a:rPr lang="fr-FR" err="1"/>
              <a:t>tha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follow links </a:t>
            </a:r>
            <a:r>
              <a:rPr lang="fr-FR" err="1"/>
              <a:t>according</a:t>
            </a:r>
            <a:r>
              <a:rPr lang="fr-FR"/>
              <a:t> to </a:t>
            </a:r>
            <a:r>
              <a:rPr lang="fr-FR" err="1"/>
              <a:t>rules</a:t>
            </a:r>
            <a:r>
              <a:rPr lang="fr-FR"/>
              <a:t>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defin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48994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/>
              <a:t>Hands-on </a:t>
            </a:r>
            <a:r>
              <a:rPr lang="en-US"/>
              <a:t>3</a:t>
            </a:r>
            <a:r>
              <a:rPr lang="en-US" sz="2800"/>
              <a:t>: Crawling with </a:t>
            </a:r>
            <a:r>
              <a:rPr lang="en-US" sz="2800" err="1"/>
              <a:t>Scrapy</a:t>
            </a:r>
            <a:endParaRPr lang="en-US" sz="2800"/>
          </a:p>
        </p:txBody>
      </p:sp>
      <p:sp>
        <p:nvSpPr>
          <p:cNvPr id="36" name="Rectangle 35"/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Use the 3</a:t>
            </a:r>
            <a:r>
              <a:rPr lang="en-US" sz="2400" b="1" baseline="30000">
                <a:solidFill>
                  <a:schemeClr val="tx2"/>
                </a:solidFill>
              </a:rPr>
              <a:t>rd</a:t>
            </a:r>
            <a:r>
              <a:rPr lang="en-US" sz="2400" b="1">
                <a:solidFill>
                  <a:schemeClr val="tx2"/>
                </a:solidFill>
              </a:rPr>
              <a:t> notebook to scrape TripAdvisor’s comments on Center Parcs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0626289" y="1103115"/>
            <a:ext cx="1368151" cy="461665"/>
            <a:chOff x="1098030" y="5226606"/>
            <a:chExt cx="1368151" cy="461665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2400">
                  <a:solidFill>
                    <a:schemeClr val="bg1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45’</a:t>
              </a:r>
            </a:p>
          </p:txBody>
        </p:sp>
      </p:grpSp>
      <p:sp>
        <p:nvSpPr>
          <p:cNvPr id="52" name="Rounded Rectangle 51"/>
          <p:cNvSpPr/>
          <p:nvPr/>
        </p:nvSpPr>
        <p:spPr>
          <a:xfrm>
            <a:off x="10574303" y="1041866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1BFD06-38A4-4877-9D2E-F0DF71320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4025" y="2668160"/>
            <a:ext cx="3523950" cy="35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6991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Hands-on 3</a:t>
            </a:r>
            <a:r>
              <a:rPr lang="en-US" sz="2800"/>
              <a:t>: </a:t>
            </a:r>
            <a:r>
              <a:rPr lang="en-US" sz="2800" err="1"/>
              <a:t>Scrapy</a:t>
            </a:r>
            <a:endParaRPr lang="en-US" sz="2800"/>
          </a:p>
        </p:txBody>
      </p:sp>
      <p:sp>
        <p:nvSpPr>
          <p:cNvPr id="36" name="Rectangle 35"/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Restitution by 1 group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0626289" y="1103115"/>
            <a:ext cx="1368151" cy="461665"/>
            <a:chOff x="1098030" y="5226606"/>
            <a:chExt cx="1368151" cy="461665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2400">
                  <a:solidFill>
                    <a:schemeClr val="bg1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5’</a:t>
              </a:r>
            </a:p>
          </p:txBody>
        </p:sp>
      </p:grpSp>
      <p:sp>
        <p:nvSpPr>
          <p:cNvPr id="52" name="Rounded Rectangle 51"/>
          <p:cNvSpPr/>
          <p:nvPr/>
        </p:nvSpPr>
        <p:spPr>
          <a:xfrm>
            <a:off x="10574303" y="1041866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212" y="2781470"/>
            <a:ext cx="3563576" cy="356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7198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Scraping web pages</a:t>
            </a:r>
          </a:p>
        </p:txBody>
      </p:sp>
      <p:sp>
        <p:nvSpPr>
          <p:cNvPr id="23" name="Content Placeholder 5"/>
          <p:cNvSpPr txBox="1">
            <a:spLocks/>
          </p:cNvSpPr>
          <p:nvPr/>
        </p:nvSpPr>
        <p:spPr>
          <a:xfrm>
            <a:off x="1875112" y="1530619"/>
            <a:ext cx="8432335" cy="689470"/>
          </a:xfrm>
          <a:prstGeom prst="rect">
            <a:avLst/>
          </a:prstGeom>
        </p:spPr>
        <p:txBody>
          <a:bodyPr anchor="ctr"/>
          <a:lstStyle>
            <a:lvl1pPr marL="263525" indent="-263525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 sz="14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marL="538163" indent="-266700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marL="712788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1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marL="893763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165225" indent="-27146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8DC63F"/>
              </a:buClr>
              <a:buNone/>
            </a:pPr>
            <a:r>
              <a:rPr lang="en-US" sz="1800" b="1">
                <a:solidFill>
                  <a:srgbClr val="009AC7"/>
                </a:solidFill>
                <a:latin typeface="Arial"/>
              </a:rPr>
              <a:t>A few tips</a:t>
            </a:r>
          </a:p>
        </p:txBody>
      </p:sp>
      <p:sp>
        <p:nvSpPr>
          <p:cNvPr id="13" name="Content Placeholder 5"/>
          <p:cNvSpPr txBox="1">
            <a:spLocks/>
          </p:cNvSpPr>
          <p:nvPr/>
        </p:nvSpPr>
        <p:spPr bwMode="auto">
          <a:xfrm>
            <a:off x="657922" y="2006336"/>
            <a:ext cx="11148612" cy="4549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SzPct val="110000"/>
              <a:buFontTx/>
              <a:buNone/>
              <a:defRPr sz="1350" b="1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1pPr>
            <a:lvl2pPr marL="34290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SzPct val="8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2pPr>
            <a:lvl3pPr marL="51435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3pPr>
            <a:lvl4pPr marL="68580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Font typeface="Arial" charset="0"/>
              <a:buChar char="•"/>
              <a:defRPr sz="75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4pPr>
            <a:lvl5pPr marL="85725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Font typeface="Arial" charset="0"/>
              <a:buChar char="•"/>
              <a:defRPr sz="75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rgbClr val="505150"/>
                </a:solidFill>
              </a:rPr>
              <a:t>Often the information you’d like to extract is </a:t>
            </a:r>
            <a:r>
              <a:rPr lang="en-US" sz="1600" b="0">
                <a:solidFill>
                  <a:srgbClr val="009AC7"/>
                </a:solidFill>
              </a:rPr>
              <a:t>contained across multiple pages</a:t>
            </a:r>
            <a:r>
              <a:rPr lang="en-US" sz="1600" b="0">
                <a:solidFill>
                  <a:srgbClr val="505150"/>
                </a:solidFill>
              </a:rPr>
              <a:t>, so you will need to </a:t>
            </a:r>
            <a:r>
              <a:rPr lang="en-US" sz="1600" b="0">
                <a:solidFill>
                  <a:srgbClr val="009AC7"/>
                </a:solidFill>
              </a:rPr>
              <a:t>understand the pattern according to which the URL addresses are built</a:t>
            </a:r>
            <a:r>
              <a:rPr lang="en-US" sz="1600" b="0">
                <a:solidFill>
                  <a:srgbClr val="505150"/>
                </a:solidFill>
              </a:rPr>
              <a:t>, in order to create a list of the URL to parse.</a:t>
            </a: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rgbClr val="505150"/>
                </a:solidFill>
              </a:rPr>
              <a:t>Some websites have </a:t>
            </a:r>
            <a:r>
              <a:rPr lang="en-US" sz="1600" b="0">
                <a:solidFill>
                  <a:srgbClr val="009AC7"/>
                </a:solidFill>
              </a:rPr>
              <a:t>robots alarm and block access when you perform too many requests</a:t>
            </a:r>
            <a:r>
              <a:rPr lang="en-US" sz="1600" b="0">
                <a:solidFill>
                  <a:srgbClr val="505150"/>
                </a:solidFill>
              </a:rPr>
              <a:t> in a given time interval. To avoid this problem, you can </a:t>
            </a:r>
            <a:r>
              <a:rPr lang="en-US" sz="1600" b="0">
                <a:solidFill>
                  <a:srgbClr val="009AC7"/>
                </a:solidFill>
              </a:rPr>
              <a:t>import the “time” Python module</a:t>
            </a:r>
            <a:r>
              <a:rPr lang="en-US" sz="1600" b="0">
                <a:solidFill>
                  <a:srgbClr val="505150"/>
                </a:solidFill>
              </a:rPr>
              <a:t> and make your program stop a few seconds in between requests.</a:t>
            </a: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rgbClr val="505150"/>
                </a:solidFill>
              </a:rPr>
              <a:t>Some </a:t>
            </a:r>
            <a:r>
              <a:rPr lang="en-US" sz="1600" b="0">
                <a:solidFill>
                  <a:srgbClr val="009AC7"/>
                </a:solidFill>
              </a:rPr>
              <a:t>websites have a robot.txt file</a:t>
            </a:r>
            <a:r>
              <a:rPr lang="en-US" sz="1600" b="0">
                <a:solidFill>
                  <a:srgbClr val="505150"/>
                </a:solidFill>
              </a:rPr>
              <a:t> in which you can find their robots policy : </a:t>
            </a:r>
          </a:p>
          <a:p>
            <a:pPr marL="230400" indent="-2304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‒"/>
            </a:pPr>
            <a:r>
              <a:rPr lang="en-US" sz="1600" b="0">
                <a:solidFill>
                  <a:srgbClr val="505150"/>
                </a:solidFill>
              </a:rPr>
              <a:t>Example: type http://yelp.com/robots.txt</a:t>
            </a: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rgbClr val="505150"/>
                </a:solidFill>
              </a:rPr>
              <a:t>Add some </a:t>
            </a:r>
            <a:r>
              <a:rPr lang="en-US" sz="1600" b="0">
                <a:solidFill>
                  <a:srgbClr val="009AC7"/>
                </a:solidFill>
              </a:rPr>
              <a:t>“try and except” in your code</a:t>
            </a:r>
            <a:r>
              <a:rPr lang="en-US" sz="1600" b="0">
                <a:solidFill>
                  <a:srgbClr val="505150"/>
                </a:solidFill>
              </a:rPr>
              <a:t>: sometimes, the parsing can return an error due to some irregularities in the objects you parse. Adding some try and except will enable your code to </a:t>
            </a:r>
            <a:r>
              <a:rPr lang="en-US" sz="1600" b="0">
                <a:solidFill>
                  <a:srgbClr val="009AC7"/>
                </a:solidFill>
              </a:rPr>
              <a:t>keep running even though some piece of information could not be extracted </a:t>
            </a:r>
            <a:r>
              <a:rPr lang="en-US" sz="1600" b="0">
                <a:solidFill>
                  <a:srgbClr val="505150"/>
                </a:solidFill>
              </a:rPr>
              <a:t>for one reason or another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128" y="4173236"/>
            <a:ext cx="4805744" cy="1440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3990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86187" y="1685924"/>
            <a:ext cx="7815262" cy="46258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250000"/>
              </a:lnSpc>
              <a:buAutoNum type="arabicPeriod"/>
            </a:pPr>
            <a:r>
              <a:rPr lang="fr-FR" err="1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view</a:t>
            </a:r>
            <a:r>
              <a:rPr lang="fr-FR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of </a:t>
            </a:r>
            <a:r>
              <a:rPr lang="fr-FR" err="1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gress</a:t>
            </a:r>
            <a:r>
              <a:rPr lang="fr-FR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mad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XPath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ing with </a:t>
            </a:r>
            <a:r>
              <a:rPr lang="en-US" err="1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y</a:t>
            </a:r>
            <a:endParaRPr lang="en-US">
              <a:solidFill>
                <a:schemeClr val="bg1">
                  <a:lumMod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 b="1">
                <a:solidFill>
                  <a:srgbClr val="22759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PI’s at a glanc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Business Cas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mmary of the session</a:t>
            </a:r>
          </a:p>
          <a:p>
            <a:pPr marL="342900" indent="-342900">
              <a:lnSpc>
                <a:spcPct val="20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 next week...</a:t>
            </a:r>
            <a:endParaRPr lang="fr-FR">
              <a:solidFill>
                <a:schemeClr val="tx1">
                  <a:lumMod val="50000"/>
                  <a:lumOff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2598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APIs at a glance</a:t>
            </a:r>
            <a:endParaRPr lang="en-US" sz="280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DEC97DA-A4BF-4871-BB47-568B6DE08F5A}"/>
              </a:ext>
            </a:extLst>
          </p:cNvPr>
          <p:cNvSpPr txBox="1">
            <a:spLocks/>
          </p:cNvSpPr>
          <p:nvPr/>
        </p:nvSpPr>
        <p:spPr bwMode="auto">
          <a:xfrm>
            <a:off x="407989" y="1294275"/>
            <a:ext cx="7865145" cy="482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28600" indent="-228600" algn="l" defTabSz="457200" rtl="0" eaLnBrk="0" fontAlgn="base" hangingPunct="0"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Pct val="110000"/>
              <a:buFont typeface="Wingdings" charset="2"/>
              <a:buChar char="§"/>
              <a:defRPr sz="18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1pPr>
            <a:lvl2pPr marL="457200" indent="-228600" algn="l" defTabSz="457200" rtl="0" eaLnBrk="0" fontAlgn="base" hangingPunct="0"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Pct val="8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2pPr>
            <a:lvl3pPr marL="685800" indent="-228600" algn="l" defTabSz="457200" rtl="0" eaLnBrk="0" fontAlgn="base" hangingPunct="0"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3pPr>
            <a:lvl4pPr marL="914400" indent="-228600" algn="l" defTabSz="457200" rtl="0" eaLnBrk="0" fontAlgn="base" hangingPunct="0"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Font typeface="Arial" charset="0"/>
              <a:buChar char="•"/>
              <a:defRPr sz="10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4pPr>
            <a:lvl5pPr marL="1143000" indent="-228600" algn="l" defTabSz="457200" rtl="0" eaLnBrk="0" fontAlgn="base" hangingPunct="0"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Font typeface="Arial" charset="0"/>
              <a:buChar char="•"/>
              <a:defRPr sz="10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A particular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website provides information you are interested in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 and you would like to be able to retrieve this information in a structured format? Then you should look if the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website has an API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05150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In fact,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many websites and web services now provide APIs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 (application programming interfaces) </a:t>
            </a: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APIs allow you to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send data request in a structured format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05150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36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The advantage of using API (when they are available) is that they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involve less programming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505150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2C0C14-54E0-4E4F-9994-D13B6BA4FD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400" y="2259105"/>
            <a:ext cx="2894752" cy="2894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705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Presentation of the achievements so far</a:t>
            </a:r>
            <a:endParaRPr lang="en-US" sz="2800"/>
          </a:p>
        </p:txBody>
      </p:sp>
      <p:sp>
        <p:nvSpPr>
          <p:cNvPr id="36" name="Rectangle 35"/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Restitution by 1 group of the data scraped using </a:t>
            </a:r>
            <a:r>
              <a:rPr lang="en-US" sz="2400" b="1" err="1">
                <a:solidFill>
                  <a:schemeClr val="tx2"/>
                </a:solidFill>
              </a:rPr>
              <a:t>ParseHub</a:t>
            </a:r>
            <a:endParaRPr lang="en-US" sz="2400" b="1">
              <a:solidFill>
                <a:schemeClr val="tx2"/>
              </a:solidFill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10626289" y="1103115"/>
            <a:ext cx="1368151" cy="461665"/>
            <a:chOff x="1098030" y="5226606"/>
            <a:chExt cx="1368151" cy="461665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2400">
                  <a:solidFill>
                    <a:schemeClr val="bg1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10’</a:t>
              </a:r>
            </a:p>
          </p:txBody>
        </p:sp>
      </p:grpSp>
      <p:sp>
        <p:nvSpPr>
          <p:cNvPr id="52" name="Rounded Rectangle 51"/>
          <p:cNvSpPr/>
          <p:nvPr/>
        </p:nvSpPr>
        <p:spPr>
          <a:xfrm>
            <a:off x="10574303" y="1041866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E3D77B-9151-4F3A-9086-98DC932960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5636" y="2754637"/>
            <a:ext cx="2460728" cy="24607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A940494-2036-4513-835E-8D5395029E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1726" y="3985001"/>
            <a:ext cx="2474638" cy="2474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4719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Using APIs: Language of the query</a:t>
            </a:r>
            <a:endParaRPr lang="en-US" sz="280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B2C8BA7-8E59-46BF-84AB-1593E8B5DF90}"/>
              </a:ext>
            </a:extLst>
          </p:cNvPr>
          <p:cNvSpPr txBox="1">
            <a:spLocks/>
          </p:cNvSpPr>
          <p:nvPr/>
        </p:nvSpPr>
        <p:spPr bwMode="auto">
          <a:xfrm>
            <a:off x="274786" y="1386796"/>
            <a:ext cx="5832475" cy="4824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28600" indent="-228600" algn="l" defTabSz="457200" rtl="0" eaLnBrk="0" fontAlgn="base" hangingPunct="0"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Pct val="110000"/>
              <a:buFont typeface="Wingdings" charset="2"/>
              <a:buChar char="§"/>
              <a:defRPr sz="18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1pPr>
            <a:lvl2pPr marL="457200" indent="-228600" algn="l" defTabSz="457200" rtl="0" eaLnBrk="0" fontAlgn="base" hangingPunct="0"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Pct val="8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2pPr>
            <a:lvl3pPr marL="685800" indent="-228600" algn="l" defTabSz="457200" rtl="0" eaLnBrk="0" fontAlgn="base" hangingPunct="0"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3pPr>
            <a:lvl4pPr marL="914400" indent="-228600" algn="l" defTabSz="457200" rtl="0" eaLnBrk="0" fontAlgn="base" hangingPunct="0"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Font typeface="Arial" charset="0"/>
              <a:buChar char="•"/>
              <a:defRPr sz="10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4pPr>
            <a:lvl5pPr marL="1143000" indent="-228600" algn="l" defTabSz="457200" rtl="0" eaLnBrk="0" fontAlgn="base" hangingPunct="0"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Font typeface="Arial" charset="0"/>
              <a:buChar char="•"/>
              <a:defRPr sz="10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+mn-lt"/>
                <a:ea typeface="ＭＳ Ｐゴシック" charset="-128"/>
                <a:cs typeface="Arial"/>
              </a:rPr>
              <a:t>The data you request from a web API usually comes in a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+mn-lt"/>
                <a:ea typeface="ＭＳ Ｐゴシック" charset="-128"/>
                <a:cs typeface="Arial"/>
              </a:rPr>
              <a:t>string format, and JSON (JavaScript Object Notation) and XML are the two most common languages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+mn-lt"/>
                <a:ea typeface="ＭＳ Ｐゴシック" charset="-128"/>
                <a:cs typeface="Arial"/>
              </a:rPr>
              <a:t> for the output of API queries</a:t>
            </a: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+mn-lt"/>
                <a:ea typeface="ＭＳ Ｐゴシック" charset="-128"/>
                <a:cs typeface="Arial"/>
              </a:rPr>
              <a:t>A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+mn-lt"/>
                <a:ea typeface="ＭＳ Ｐゴシック" charset="-128"/>
                <a:cs typeface="Arial"/>
              </a:rPr>
              <a:t>minimal familiarity with one of these languages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+mn-lt"/>
                <a:ea typeface="ＭＳ Ｐゴシック" charset="-128"/>
                <a:cs typeface="Arial"/>
              </a:rPr>
              <a:t> can be useful when you want to structure the output of the queries into a processable dataset</a:t>
            </a: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+mn-lt"/>
                <a:ea typeface="ＭＳ Ｐゴシック" charset="-128"/>
                <a:cs typeface="Arial"/>
              </a:rPr>
              <a:t>You can often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+mn-lt"/>
                <a:ea typeface="ＭＳ Ｐゴシック" charset="-128"/>
                <a:cs typeface="Arial"/>
              </a:rPr>
              <a:t>choose the language of the query results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+mn-lt"/>
                <a:ea typeface="ＭＳ Ｐゴシック" charset="-128"/>
                <a:cs typeface="Arial"/>
              </a:rPr>
              <a:t> among the available options</a:t>
            </a: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+mn-lt"/>
                <a:ea typeface="ＭＳ Ｐゴシック" charset="-128"/>
                <a:cs typeface="Arial"/>
              </a:rPr>
              <a:t>JSON can be parsed using Python’s json modul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+mn-lt"/>
                <a:ea typeface="ＭＳ Ｐゴシック" charset="-128"/>
                <a:cs typeface="Arial"/>
              </a:rPr>
              <a:t> and you can easily get around with JSON objects if you are familiar with Python dictionari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9EC17D-A3E9-492B-A67E-FD002FBD462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191"/>
          <a:stretch/>
        </p:blipFill>
        <p:spPr>
          <a:xfrm>
            <a:off x="6444923" y="2292648"/>
            <a:ext cx="5131954" cy="2490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5326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Finding &amp; using APIs</a:t>
            </a:r>
            <a:endParaRPr lang="en-US" sz="2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256B0C-43B6-4E05-8649-1322665753EA}"/>
              </a:ext>
            </a:extLst>
          </p:cNvPr>
          <p:cNvSpPr/>
          <p:nvPr/>
        </p:nvSpPr>
        <p:spPr>
          <a:xfrm>
            <a:off x="385466" y="1294275"/>
            <a:ext cx="3885671" cy="14266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ea typeface="+mn-ea"/>
                <a:cs typeface="+mn-cs"/>
              </a:rPr>
              <a:t>APIs availabil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2E4ED7F-FB11-4196-813D-EDFD5885F858}"/>
              </a:ext>
            </a:extLst>
          </p:cNvPr>
          <p:cNvSpPr/>
          <p:nvPr/>
        </p:nvSpPr>
        <p:spPr>
          <a:xfrm>
            <a:off x="4271137" y="1294275"/>
            <a:ext cx="3885671" cy="14266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ea typeface="+mn-ea"/>
                <a:cs typeface="+mn-cs"/>
              </a:rPr>
              <a:t>Authentic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36D1D62-F954-41F8-A111-C7B2D5A74C9B}"/>
              </a:ext>
            </a:extLst>
          </p:cNvPr>
          <p:cNvSpPr/>
          <p:nvPr/>
        </p:nvSpPr>
        <p:spPr>
          <a:xfrm>
            <a:off x="8156809" y="1294275"/>
            <a:ext cx="3885671" cy="14266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ea typeface="+mn-ea"/>
                <a:cs typeface="+mn-cs"/>
              </a:rPr>
              <a:t>Python wrapp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D5A6E46-81A9-41D1-B067-D8C810DA3296}"/>
              </a:ext>
            </a:extLst>
          </p:cNvPr>
          <p:cNvSpPr/>
          <p:nvPr/>
        </p:nvSpPr>
        <p:spPr>
          <a:xfrm>
            <a:off x="385466" y="3597737"/>
            <a:ext cx="3885671" cy="2520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80000" marR="0" lvl="0" indent="-180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Many websites proposing APIs</a:t>
            </a:r>
          </a:p>
          <a:p>
            <a:pPr marL="180000" marR="0" lvl="0" indent="-180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Possibility to check the API and/or Developer sections of the websit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EF88CC6-1D87-4DF7-93DE-4C1503F016ED}"/>
              </a:ext>
            </a:extLst>
          </p:cNvPr>
          <p:cNvSpPr/>
          <p:nvPr/>
        </p:nvSpPr>
        <p:spPr>
          <a:xfrm>
            <a:off x="4271137" y="3597737"/>
            <a:ext cx="3885671" cy="2520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80000" marR="0" lvl="0" indent="-180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Most APIs requiring authentication</a:t>
            </a:r>
          </a:p>
          <a:p>
            <a:pPr marL="180000" marR="0" lvl="0" indent="-180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Necessity to register to the website, to get the required API ke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EBDBEB-BBD2-4715-AAAF-BE624AEBDFD4}"/>
              </a:ext>
            </a:extLst>
          </p:cNvPr>
          <p:cNvSpPr/>
          <p:nvPr/>
        </p:nvSpPr>
        <p:spPr>
          <a:xfrm>
            <a:off x="8156809" y="3597737"/>
            <a:ext cx="3885671" cy="2520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80000" marR="0" lvl="0" indent="-180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Useful when available, for request automation, structuration of queries’ outputs and data saving in desired forma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A171859-794E-4780-A735-37D7E25FAB42}"/>
              </a:ext>
            </a:extLst>
          </p:cNvPr>
          <p:cNvCxnSpPr/>
          <p:nvPr/>
        </p:nvCxnSpPr>
        <p:spPr>
          <a:xfrm>
            <a:off x="1803971" y="2880512"/>
            <a:ext cx="1048660" cy="0"/>
          </a:xfrm>
          <a:prstGeom prst="line">
            <a:avLst/>
          </a:prstGeom>
          <a:noFill/>
          <a:ln w="57150" cap="flat" cmpd="sng" algn="ctr">
            <a:solidFill>
              <a:srgbClr val="009AC7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587D5E2-E525-444F-AD36-E17ECBD4C1A3}"/>
              </a:ext>
            </a:extLst>
          </p:cNvPr>
          <p:cNvCxnSpPr/>
          <p:nvPr/>
        </p:nvCxnSpPr>
        <p:spPr>
          <a:xfrm>
            <a:off x="5689642" y="2880512"/>
            <a:ext cx="1048660" cy="0"/>
          </a:xfrm>
          <a:prstGeom prst="line">
            <a:avLst/>
          </a:prstGeom>
          <a:noFill/>
          <a:ln w="57150" cap="flat" cmpd="sng" algn="ctr">
            <a:solidFill>
              <a:srgbClr val="009AC7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579A455-CCF9-4C26-BDFD-8FB5767E44F4}"/>
              </a:ext>
            </a:extLst>
          </p:cNvPr>
          <p:cNvCxnSpPr/>
          <p:nvPr/>
        </p:nvCxnSpPr>
        <p:spPr>
          <a:xfrm>
            <a:off x="9575313" y="2880512"/>
            <a:ext cx="1048660" cy="0"/>
          </a:xfrm>
          <a:prstGeom prst="line">
            <a:avLst/>
          </a:prstGeom>
          <a:noFill/>
          <a:ln w="57150" cap="flat" cmpd="sng" algn="ctr">
            <a:solidFill>
              <a:srgbClr val="009AC7">
                <a:lumMod val="60000"/>
                <a:lumOff val="40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9472311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Top 8 social network APIs &amp; policies</a:t>
            </a:r>
            <a:endParaRPr lang="en-US" sz="28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1775623-9179-40D7-BB8E-A303E8A8213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8194"/>
          <a:stretch/>
        </p:blipFill>
        <p:spPr>
          <a:xfrm>
            <a:off x="568528" y="2503292"/>
            <a:ext cx="1520510" cy="3373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8ED405B-CD04-4C22-911D-AA29996534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494" y="3511305"/>
            <a:ext cx="844713" cy="3829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CEB4A01-3A85-4BAA-A725-401EE607A2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494" y="4581636"/>
            <a:ext cx="1529415" cy="303857"/>
          </a:xfrm>
          <a:prstGeom prst="snip1Rect">
            <a:avLst>
              <a:gd name="adj" fmla="val 24959"/>
            </a:avLst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C3B9316-6646-41DA-9670-D1F7281A2A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299" y="5583473"/>
            <a:ext cx="1178830" cy="361764"/>
          </a:xfrm>
          <a:prstGeom prst="rect">
            <a:avLst/>
          </a:prstGeom>
        </p:spPr>
      </p:pic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A7E13538-E866-4051-922D-4D028C6BC862}"/>
              </a:ext>
            </a:extLst>
          </p:cNvPr>
          <p:cNvSpPr txBox="1">
            <a:spLocks/>
          </p:cNvSpPr>
          <p:nvPr/>
        </p:nvSpPr>
        <p:spPr>
          <a:xfrm>
            <a:off x="407989" y="1457134"/>
            <a:ext cx="11649078" cy="682688"/>
          </a:xfrm>
          <a:prstGeom prst="rect">
            <a:avLst/>
          </a:prstGeom>
        </p:spPr>
        <p:txBody>
          <a:bodyPr anchor="ctr"/>
          <a:lstStyle>
            <a:lvl1pPr marL="263525" indent="-263525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 sz="14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marL="538163" indent="-266700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marL="712788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1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marL="893763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165225" indent="-27146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8DC63F"/>
              </a:buClr>
              <a:buFont typeface="Wingdings" pitchFamily="2" charset="2"/>
              <a:buNone/>
            </a:pPr>
            <a:r>
              <a:rPr lang="en-GB" sz="2400" b="1">
                <a:solidFill>
                  <a:srgbClr val="22759E"/>
                </a:solidFill>
                <a:latin typeface="+mn-lt"/>
              </a:rPr>
              <a:t>General policy – no web scraping but APIs availabl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A61D7BB-B2F7-427C-B31C-4D2EE6F0FE89}"/>
              </a:ext>
            </a:extLst>
          </p:cNvPr>
          <p:cNvSpPr/>
          <p:nvPr/>
        </p:nvSpPr>
        <p:spPr>
          <a:xfrm>
            <a:off x="2197357" y="3187378"/>
            <a:ext cx="9867645" cy="10307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Limited collection of the data (speed/volume is compared to what « human can reasonably produce »), it allows read &amp; write operations on videos with a limited quota</a:t>
            </a:r>
          </a:p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No personal data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AF721CE-CEBE-4FE9-A98A-44CD9DF39799}"/>
              </a:ext>
            </a:extLst>
          </p:cNvPr>
          <p:cNvSpPr/>
          <p:nvPr/>
        </p:nvSpPr>
        <p:spPr>
          <a:xfrm>
            <a:off x="2197357" y="2156587"/>
            <a:ext cx="9867645" cy="10307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No direct scraping unless authorized (fill in authorization form – 2 weeks for FB answer). Terms are at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  <a:hlinkClick r:id="rId6"/>
              </a:rPr>
              <a:t>h</a:t>
            </a:r>
            <a:r>
              <a:rPr kumimoji="0" lang="en-GB" sz="1400" b="0" i="1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  <a:hlinkClick r:id="rId6"/>
              </a:rPr>
              <a:t>ttps://www.facebook.com/apps/site_scraping_tos_terms.php</a:t>
            </a:r>
            <a:r>
              <a:rPr kumimoji="0" lang="en-GB" sz="1400" b="0" i="1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APIs exist for app developer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3CC6A29-6A8B-480A-90B6-52211E0DA2E1}"/>
              </a:ext>
            </a:extLst>
          </p:cNvPr>
          <p:cNvSpPr/>
          <p:nvPr/>
        </p:nvSpPr>
        <p:spPr>
          <a:xfrm>
            <a:off x="2197357" y="4218169"/>
            <a:ext cx="9867645" cy="10307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No direct scraping</a:t>
            </a:r>
          </a:p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API with limited number of call by 15 min window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847C87C-36E3-4005-8321-C49468C5323A}"/>
              </a:ext>
            </a:extLst>
          </p:cNvPr>
          <p:cNvSpPr/>
          <p:nvPr/>
        </p:nvSpPr>
        <p:spPr>
          <a:xfrm>
            <a:off x="2197357" y="5248960"/>
            <a:ext cx="9867645" cy="10307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Prohibition of scraping software </a:t>
            </a:r>
            <a:r>
              <a:rPr kumimoji="0" lang="en-GB" sz="1400" b="0" i="1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https://www.linkedin.com/help/linkedin/answer/56347/prohibition-of-scraping-software?lang=en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 (check internet news for their law suits)</a:t>
            </a:r>
          </a:p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APIs are for app development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102D82-9A64-4B0E-946F-26561CAF1D4B}"/>
              </a:ext>
            </a:extLst>
          </p:cNvPr>
          <p:cNvGrpSpPr/>
          <p:nvPr/>
        </p:nvGrpSpPr>
        <p:grpSpPr>
          <a:xfrm>
            <a:off x="568527" y="3187378"/>
            <a:ext cx="11496475" cy="2061582"/>
            <a:chOff x="432000" y="2855782"/>
            <a:chExt cx="8280000" cy="2061582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AC6669A4-1369-4236-B7C6-ABF7B95A9B41}"/>
                </a:ext>
              </a:extLst>
            </p:cNvPr>
            <p:cNvCxnSpPr/>
            <p:nvPr/>
          </p:nvCxnSpPr>
          <p:spPr>
            <a:xfrm>
              <a:off x="432000" y="2855782"/>
              <a:ext cx="8280000" cy="0"/>
            </a:xfrm>
            <a:prstGeom prst="line">
              <a:avLst/>
            </a:prstGeom>
            <a:noFill/>
            <a:ln w="12700" cap="flat" cmpd="sng" algn="ctr">
              <a:solidFill>
                <a:srgbClr val="505150">
                  <a:lumMod val="40000"/>
                  <a:lumOff val="60000"/>
                </a:srgbClr>
              </a:solidFill>
              <a:prstDash val="dash"/>
            </a:ln>
            <a:effectLst/>
          </p:spPr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BEA3C8A-26B9-454F-A132-3B2001FDEC24}"/>
                </a:ext>
              </a:extLst>
            </p:cNvPr>
            <p:cNvCxnSpPr/>
            <p:nvPr/>
          </p:nvCxnSpPr>
          <p:spPr>
            <a:xfrm>
              <a:off x="432000" y="3886573"/>
              <a:ext cx="8280000" cy="0"/>
            </a:xfrm>
            <a:prstGeom prst="line">
              <a:avLst/>
            </a:prstGeom>
            <a:noFill/>
            <a:ln w="12700" cap="flat" cmpd="sng" algn="ctr">
              <a:solidFill>
                <a:srgbClr val="505150">
                  <a:lumMod val="40000"/>
                  <a:lumOff val="60000"/>
                </a:srgbClr>
              </a:solidFill>
              <a:prstDash val="dash"/>
            </a:ln>
            <a:effectLst/>
          </p:spPr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1D0605D-C60C-4CA3-804D-E07368B7C561}"/>
                </a:ext>
              </a:extLst>
            </p:cNvPr>
            <p:cNvCxnSpPr/>
            <p:nvPr/>
          </p:nvCxnSpPr>
          <p:spPr>
            <a:xfrm>
              <a:off x="432000" y="4917364"/>
              <a:ext cx="8280000" cy="0"/>
            </a:xfrm>
            <a:prstGeom prst="line">
              <a:avLst/>
            </a:prstGeom>
            <a:noFill/>
            <a:ln w="12700" cap="flat" cmpd="sng" algn="ctr">
              <a:solidFill>
                <a:srgbClr val="505150">
                  <a:lumMod val="40000"/>
                  <a:lumOff val="60000"/>
                </a:srgbClr>
              </a:solidFill>
              <a:prstDash val="dash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323232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Top 8 social network APIs &amp; policies</a:t>
            </a:r>
            <a:endParaRPr lang="en-US" sz="2800"/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A7E13538-E866-4051-922D-4D028C6BC862}"/>
              </a:ext>
            </a:extLst>
          </p:cNvPr>
          <p:cNvSpPr txBox="1">
            <a:spLocks/>
          </p:cNvSpPr>
          <p:nvPr/>
        </p:nvSpPr>
        <p:spPr>
          <a:xfrm>
            <a:off x="407989" y="1457134"/>
            <a:ext cx="11649078" cy="682688"/>
          </a:xfrm>
          <a:prstGeom prst="rect">
            <a:avLst/>
          </a:prstGeom>
        </p:spPr>
        <p:txBody>
          <a:bodyPr anchor="ctr"/>
          <a:lstStyle>
            <a:lvl1pPr marL="263525" indent="-263525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 sz="14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marL="538163" indent="-266700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marL="712788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1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marL="893763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165225" indent="-27146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8DC63F"/>
              </a:buClr>
              <a:buFont typeface="Wingdings" pitchFamily="2" charset="2"/>
              <a:buNone/>
            </a:pPr>
            <a:r>
              <a:rPr lang="en-GB" sz="2400" b="1">
                <a:solidFill>
                  <a:srgbClr val="22759E"/>
                </a:solidFill>
                <a:latin typeface="+mn-lt"/>
              </a:rPr>
              <a:t>General policy – no web scraping but APIs availab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50ABA9-FCF1-4127-80CC-CB27C56FABBA}"/>
              </a:ext>
            </a:extLst>
          </p:cNvPr>
          <p:cNvSpPr/>
          <p:nvPr/>
        </p:nvSpPr>
        <p:spPr>
          <a:xfrm>
            <a:off x="2060829" y="3026602"/>
            <a:ext cx="9867645" cy="10307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The Google+ API currently provides read-only access to public data. All API calls require either an OAuth 2.0 token or an API key</a:t>
            </a:r>
          </a:p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Number of calls are limite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EFE43A9-59BE-44F6-A4DC-57C983000841}"/>
              </a:ext>
            </a:extLst>
          </p:cNvPr>
          <p:cNvSpPr/>
          <p:nvPr/>
        </p:nvSpPr>
        <p:spPr>
          <a:xfrm>
            <a:off x="2060829" y="1995811"/>
            <a:ext cx="9867645" cy="10307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Access through API REST with a limited number of requests (10 to 1000 calls in a 1h-window)</a:t>
            </a:r>
          </a:p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No image storing (user permission - copyright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0AFF476-8E80-4029-9A57-215833B52BD6}"/>
              </a:ext>
            </a:extLst>
          </p:cNvPr>
          <p:cNvSpPr/>
          <p:nvPr/>
        </p:nvSpPr>
        <p:spPr>
          <a:xfrm>
            <a:off x="2060829" y="5088184"/>
            <a:ext cx="9867645" cy="10307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The free API is for “non-automated” apps, user authorization needed, Python/Ruby versions exists, 5000 calls per hour, </a:t>
            </a: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it is being depreciated in </a:t>
            </a:r>
            <a:r>
              <a:rPr kumimoji="0" lang="en-GB" sz="1400" b="1" i="0" u="none" strike="noStrike" kern="0" cap="none" spc="0" normalizeH="0" baseline="0" noProof="0" err="1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favor</a:t>
            </a: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 of the new “Business version”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 (Instagram Graph API)</a:t>
            </a:r>
          </a:p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Sensitive to user content/media (owned by users)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609E107-9FCC-457D-A3C7-5F705E2375B9}"/>
              </a:ext>
            </a:extLst>
          </p:cNvPr>
          <p:cNvGrpSpPr/>
          <p:nvPr/>
        </p:nvGrpSpPr>
        <p:grpSpPr>
          <a:xfrm>
            <a:off x="431999" y="3026602"/>
            <a:ext cx="11496475" cy="2061582"/>
            <a:chOff x="432000" y="2905657"/>
            <a:chExt cx="8280000" cy="2061582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1C868C6-D565-4BD3-9134-B7F00A2046B6}"/>
                </a:ext>
              </a:extLst>
            </p:cNvPr>
            <p:cNvCxnSpPr/>
            <p:nvPr/>
          </p:nvCxnSpPr>
          <p:spPr>
            <a:xfrm>
              <a:off x="432000" y="2905657"/>
              <a:ext cx="8280000" cy="0"/>
            </a:xfrm>
            <a:prstGeom prst="line">
              <a:avLst/>
            </a:prstGeom>
            <a:noFill/>
            <a:ln w="12700" cap="flat" cmpd="sng" algn="ctr">
              <a:solidFill>
                <a:srgbClr val="505150">
                  <a:lumMod val="40000"/>
                  <a:lumOff val="60000"/>
                </a:srgbClr>
              </a:solidFill>
              <a:prstDash val="dash"/>
            </a:ln>
            <a:effectLst/>
          </p:spPr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DC9E326-6777-4127-B273-353BE9A68886}"/>
                </a:ext>
              </a:extLst>
            </p:cNvPr>
            <p:cNvCxnSpPr/>
            <p:nvPr/>
          </p:nvCxnSpPr>
          <p:spPr>
            <a:xfrm>
              <a:off x="432000" y="3936448"/>
              <a:ext cx="8280000" cy="0"/>
            </a:xfrm>
            <a:prstGeom prst="line">
              <a:avLst/>
            </a:prstGeom>
            <a:noFill/>
            <a:ln w="12700" cap="flat" cmpd="sng" algn="ctr">
              <a:solidFill>
                <a:srgbClr val="505150">
                  <a:lumMod val="40000"/>
                  <a:lumOff val="60000"/>
                </a:srgbClr>
              </a:solidFill>
              <a:prstDash val="dash"/>
            </a:ln>
            <a:effectLst/>
          </p:spPr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AAF8C080-350B-4784-BF4D-A6DB070F34E5}"/>
                </a:ext>
              </a:extLst>
            </p:cNvPr>
            <p:cNvCxnSpPr/>
            <p:nvPr/>
          </p:nvCxnSpPr>
          <p:spPr>
            <a:xfrm>
              <a:off x="432000" y="4967239"/>
              <a:ext cx="8280000" cy="0"/>
            </a:xfrm>
            <a:prstGeom prst="line">
              <a:avLst/>
            </a:prstGeom>
            <a:noFill/>
            <a:ln w="12700" cap="flat" cmpd="sng" algn="ctr">
              <a:solidFill>
                <a:srgbClr val="505150">
                  <a:lumMod val="40000"/>
                  <a:lumOff val="60000"/>
                </a:srgbClr>
              </a:solidFill>
              <a:prstDash val="dash"/>
            </a:ln>
            <a:effectLst/>
          </p:spPr>
        </p:cxn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E8C8C360-8B25-411E-BA59-67CE961B16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000" y="2353269"/>
            <a:ext cx="1200969" cy="315874"/>
          </a:xfrm>
          <a:prstGeom prst="snipRound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F7156082-EBBA-4793-B6D6-8B4336B4BB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000" y="4410788"/>
            <a:ext cx="1215834" cy="3240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13B68295-90EC-4ECD-BE6D-8C89F64F79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000" y="5410500"/>
            <a:ext cx="1327048" cy="386159"/>
          </a:xfrm>
          <a:prstGeom prst="snipRoundRect">
            <a:avLst>
              <a:gd name="adj1" fmla="val 16667"/>
              <a:gd name="adj2" fmla="val 22611"/>
            </a:avLst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9CB1AC9D-7AFF-482F-863E-0E45E6375D2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0378" t="11710" r="29997" b="28283"/>
          <a:stretch/>
        </p:blipFill>
        <p:spPr>
          <a:xfrm>
            <a:off x="432000" y="3190305"/>
            <a:ext cx="696686" cy="703385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C5473692-A47D-4BF0-BB25-2CE17F72B126}"/>
              </a:ext>
            </a:extLst>
          </p:cNvPr>
          <p:cNvSpPr/>
          <p:nvPr/>
        </p:nvSpPr>
        <p:spPr>
          <a:xfrm>
            <a:off x="2060829" y="4067437"/>
            <a:ext cx="9867645" cy="10307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Access through API with </a:t>
            </a:r>
            <a:r>
              <a:rPr kumimoji="0" lang="en-GB" sz="1400" b="0" i="0" u="none" strike="noStrike" kern="0" cap="none" spc="0" normalizeH="0" baseline="0" noProof="0" err="1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Oauth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 using JS/Ruby/Php/Java/Python/Objective-C – limitations for the access frequency exist but not officially provided (“Respect for limitations” in License Agreement)</a:t>
            </a:r>
          </a:p>
          <a:p>
            <a:pPr marL="216000" marR="0" lvl="0" indent="-216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ea typeface="+mn-ea"/>
                <a:cs typeface="+mn-cs"/>
              </a:rPr>
              <a:t>Sensitive to user content</a:t>
            </a:r>
          </a:p>
        </p:txBody>
      </p:sp>
    </p:spTree>
    <p:extLst>
      <p:ext uri="{BB962C8B-B14F-4D97-AF65-F5344CB8AC3E}">
        <p14:creationId xmlns:p14="http://schemas.microsoft.com/office/powerpoint/2010/main" val="405985196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ing APIs: Twitter API</a:t>
            </a:r>
          </a:p>
        </p:txBody>
      </p:sp>
      <p:sp>
        <p:nvSpPr>
          <p:cNvPr id="29" name="Content Placeholder 5"/>
          <p:cNvSpPr txBox="1">
            <a:spLocks/>
          </p:cNvSpPr>
          <p:nvPr/>
        </p:nvSpPr>
        <p:spPr bwMode="auto">
          <a:xfrm>
            <a:off x="407988" y="1984034"/>
            <a:ext cx="11398545" cy="1708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SzPct val="110000"/>
              <a:buFontTx/>
              <a:buNone/>
              <a:defRPr sz="1350" b="1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1pPr>
            <a:lvl2pPr marL="34290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SzPct val="8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2pPr>
            <a:lvl3pPr marL="51435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3pPr>
            <a:lvl4pPr marL="68580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Font typeface="Arial" charset="0"/>
              <a:buChar char="•"/>
              <a:defRPr sz="75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4pPr>
            <a:lvl5pPr marL="85725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Font typeface="Arial" charset="0"/>
              <a:buChar char="•"/>
              <a:defRPr sz="75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For example, suppose we want to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retrieve all the tweets related to data science in order to do text mining on them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150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There are several Python libraries for Twitter API, so we will be using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“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Twython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” library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. </a:t>
            </a: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15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First you need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9AC7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to register a Twitter account and ask for an API key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150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4847459" y="3812713"/>
            <a:ext cx="2497085" cy="0"/>
          </a:xfrm>
          <a:prstGeom prst="line">
            <a:avLst/>
          </a:prstGeom>
          <a:ln w="57150">
            <a:solidFill>
              <a:schemeClr val="bg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2700731" y="3932834"/>
            <a:ext cx="6790539" cy="2736454"/>
            <a:chOff x="2151211" y="3932834"/>
            <a:chExt cx="6790539" cy="2736454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151211" y="4833576"/>
              <a:ext cx="934970" cy="934970"/>
            </a:xfrm>
            <a:prstGeom prst="rect">
              <a:avLst/>
            </a:prstGeom>
          </p:spPr>
        </p:pic>
        <p:pic>
          <p:nvPicPr>
            <p:cNvPr id="12" name="Picture 6">
              <a:extLst>
                <a:ext uri="{FF2B5EF4-FFF2-40B4-BE49-F238E27FC236}">
                  <a16:creationId xmlns:a16="http://schemas.microsoft.com/office/drawing/2014/main" id="{604A17C2-A0A7-43D2-A2CD-CD64703B0D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968"/>
            <a:stretch/>
          </p:blipFill>
          <p:spPr>
            <a:xfrm>
              <a:off x="3086182" y="3932834"/>
              <a:ext cx="5855568" cy="2736454"/>
            </a:xfrm>
            <a:prstGeom prst="rect">
              <a:avLst/>
            </a:prstGeom>
          </p:spPr>
        </p:pic>
      </p:grpSp>
      <p:sp>
        <p:nvSpPr>
          <p:cNvPr id="14" name="Content Placeholder 5"/>
          <p:cNvSpPr txBox="1">
            <a:spLocks/>
          </p:cNvSpPr>
          <p:nvPr/>
        </p:nvSpPr>
        <p:spPr>
          <a:xfrm>
            <a:off x="1865552" y="1530619"/>
            <a:ext cx="8432335" cy="689470"/>
          </a:xfrm>
          <a:prstGeom prst="rect">
            <a:avLst/>
          </a:prstGeom>
        </p:spPr>
        <p:txBody>
          <a:bodyPr anchor="ctr"/>
          <a:lstStyle>
            <a:lvl1pPr marL="263525" indent="-263525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 sz="14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marL="538163" indent="-266700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marL="712788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1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marL="893763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165225" indent="-27146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Clr>
                <a:srgbClr val="8DC63F"/>
              </a:buClr>
              <a:buNone/>
              <a:defRPr/>
            </a:pPr>
            <a:r>
              <a:rPr lang="en-US" sz="1800" b="1">
                <a:solidFill>
                  <a:srgbClr val="009AC7"/>
                </a:solidFill>
                <a:latin typeface="Arial"/>
              </a:rPr>
              <a:t>API authentication</a:t>
            </a:r>
          </a:p>
        </p:txBody>
      </p:sp>
    </p:spTree>
    <p:extLst>
      <p:ext uri="{BB962C8B-B14F-4D97-AF65-F5344CB8AC3E}">
        <p14:creationId xmlns:p14="http://schemas.microsoft.com/office/powerpoint/2010/main" val="327656553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ing APIs: Twitter API</a:t>
            </a:r>
          </a:p>
        </p:txBody>
      </p:sp>
      <p:cxnSp>
        <p:nvCxnSpPr>
          <p:cNvPr id="37" name="Straight Connector 36"/>
          <p:cNvCxnSpPr/>
          <p:nvPr/>
        </p:nvCxnSpPr>
        <p:spPr>
          <a:xfrm>
            <a:off x="4776021" y="2325596"/>
            <a:ext cx="2497085" cy="0"/>
          </a:xfrm>
          <a:prstGeom prst="line">
            <a:avLst/>
          </a:prstGeom>
          <a:ln w="57150">
            <a:solidFill>
              <a:schemeClr val="bg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7">
            <a:extLst>
              <a:ext uri="{FF2B5EF4-FFF2-40B4-BE49-F238E27FC236}">
                <a16:creationId xmlns:a16="http://schemas.microsoft.com/office/drawing/2014/main" id="{C2CA2BD4-B3FC-411E-8196-C1B39DE284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0524" y="2654218"/>
            <a:ext cx="9670953" cy="3875533"/>
          </a:xfrm>
          <a:prstGeom prst="rect">
            <a:avLst/>
          </a:prstGeom>
        </p:spPr>
      </p:pic>
      <p:sp>
        <p:nvSpPr>
          <p:cNvPr id="12" name="Content Placeholder 5"/>
          <p:cNvSpPr txBox="1">
            <a:spLocks/>
          </p:cNvSpPr>
          <p:nvPr/>
        </p:nvSpPr>
        <p:spPr>
          <a:xfrm>
            <a:off x="1865552" y="1530619"/>
            <a:ext cx="8432335" cy="689470"/>
          </a:xfrm>
          <a:prstGeom prst="rect">
            <a:avLst/>
          </a:prstGeom>
        </p:spPr>
        <p:txBody>
          <a:bodyPr anchor="ctr"/>
          <a:lstStyle>
            <a:lvl1pPr marL="263525" indent="-263525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 sz="14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marL="538163" indent="-266700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marL="712788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1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marL="893763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165225" indent="-27146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Clr>
                <a:srgbClr val="8DC63F"/>
              </a:buClr>
              <a:buNone/>
              <a:defRPr/>
            </a:pPr>
            <a:r>
              <a:rPr lang="en-US" sz="1800" b="1">
                <a:solidFill>
                  <a:srgbClr val="009AC7"/>
                </a:solidFill>
                <a:latin typeface="Arial"/>
              </a:rPr>
              <a:t>What do we get from the request ? </a:t>
            </a:r>
          </a:p>
        </p:txBody>
      </p:sp>
    </p:spTree>
    <p:extLst>
      <p:ext uri="{BB962C8B-B14F-4D97-AF65-F5344CB8AC3E}">
        <p14:creationId xmlns:p14="http://schemas.microsoft.com/office/powerpoint/2010/main" val="39381460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ing APIs: Twitter API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407989" y="2354005"/>
            <a:ext cx="11398545" cy="2956548"/>
            <a:chOff x="529329" y="2283667"/>
            <a:chExt cx="11398545" cy="2956548"/>
          </a:xfrm>
        </p:grpSpPr>
        <p:sp>
          <p:nvSpPr>
            <p:cNvPr id="7" name="Content Placeholder 5">
              <a:extLst>
                <a:ext uri="{FF2B5EF4-FFF2-40B4-BE49-F238E27FC236}">
                  <a16:creationId xmlns:a16="http://schemas.microsoft.com/office/drawing/2014/main" id="{7A69B192-2AD3-4FF3-978E-2BD1063AD5E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29329" y="2283667"/>
              <a:ext cx="11398545" cy="29565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>
              <a:lvl1pPr marL="0" indent="0" algn="l" defTabSz="342900" rtl="0" eaLnBrk="1" fontAlgn="base" hangingPunct="1">
                <a:spcBef>
                  <a:spcPts val="0"/>
                </a:spcBef>
                <a:spcAft>
                  <a:spcPts val="150"/>
                </a:spcAft>
                <a:buClr>
                  <a:schemeClr val="bg2"/>
                </a:buClr>
                <a:buSzPct val="110000"/>
                <a:buFontTx/>
                <a:buNone/>
                <a:defRPr sz="1350" b="1" kern="1200">
                  <a:solidFill>
                    <a:schemeClr val="tx1"/>
                  </a:solidFill>
                  <a:latin typeface="Arial"/>
                  <a:ea typeface="ＭＳ Ｐゴシック" charset="-128"/>
                  <a:cs typeface="Arial"/>
                </a:defRPr>
              </a:lvl1pPr>
              <a:lvl2pPr marL="342900" indent="-171450" algn="l" defTabSz="342900" rtl="0" eaLnBrk="1" fontAlgn="base" hangingPunct="1">
                <a:spcBef>
                  <a:spcPts val="0"/>
                </a:spcBef>
                <a:spcAft>
                  <a:spcPts val="150"/>
                </a:spcAft>
                <a:buClr>
                  <a:schemeClr val="bg2"/>
                </a:buClr>
                <a:buSzPct val="80000"/>
                <a:buFont typeface="Wingdings" charset="2"/>
                <a:buChar char="§"/>
                <a:defRPr sz="1200" kern="1200">
                  <a:solidFill>
                    <a:schemeClr val="tx1"/>
                  </a:solidFill>
                  <a:latin typeface="Arial"/>
                  <a:ea typeface="ＭＳ Ｐゴシック" charset="-128"/>
                  <a:cs typeface="Arial"/>
                </a:defRPr>
              </a:lvl2pPr>
              <a:lvl3pPr marL="514350" indent="-171450" algn="l" defTabSz="342900" rtl="0" eaLnBrk="1" fontAlgn="base" hangingPunct="1">
                <a:spcBef>
                  <a:spcPts val="0"/>
                </a:spcBef>
                <a:spcAft>
                  <a:spcPts val="150"/>
                </a:spcAft>
                <a:buClr>
                  <a:schemeClr val="bg2"/>
                </a:buClr>
                <a:buFont typeface="Arial" pitchFamily="34" charset="0"/>
                <a:buChar char="–"/>
                <a:defRPr sz="900" kern="1200">
                  <a:solidFill>
                    <a:schemeClr val="tx1"/>
                  </a:solidFill>
                  <a:latin typeface="Arial"/>
                  <a:ea typeface="ＭＳ Ｐゴシック" charset="-128"/>
                  <a:cs typeface="Arial"/>
                </a:defRPr>
              </a:lvl3pPr>
              <a:lvl4pPr marL="685800" indent="-171450" algn="l" defTabSz="342900" rtl="0" eaLnBrk="1" fontAlgn="base" hangingPunct="1">
                <a:spcBef>
                  <a:spcPts val="0"/>
                </a:spcBef>
                <a:spcAft>
                  <a:spcPts val="150"/>
                </a:spcAft>
                <a:buClr>
                  <a:schemeClr val="bg2"/>
                </a:buClr>
                <a:buFont typeface="Arial" charset="0"/>
                <a:buChar char="•"/>
                <a:defRPr sz="750" kern="1200">
                  <a:solidFill>
                    <a:schemeClr val="tx1"/>
                  </a:solidFill>
                  <a:latin typeface="Arial"/>
                  <a:ea typeface="ＭＳ Ｐゴシック" charset="-128"/>
                  <a:cs typeface="Arial"/>
                </a:defRPr>
              </a:lvl4pPr>
              <a:lvl5pPr marL="857250" indent="-171450" algn="l" defTabSz="342900" rtl="0" eaLnBrk="1" fontAlgn="base" hangingPunct="1">
                <a:spcBef>
                  <a:spcPts val="0"/>
                </a:spcBef>
                <a:spcAft>
                  <a:spcPts val="150"/>
                </a:spcAft>
                <a:buClr>
                  <a:schemeClr val="bg2"/>
                </a:buClr>
                <a:buFont typeface="Arial" charset="0"/>
                <a:buChar char="•"/>
                <a:defRPr sz="750" kern="1200">
                  <a:solidFill>
                    <a:schemeClr val="tx1"/>
                  </a:solidFill>
                  <a:latin typeface="Arial"/>
                  <a:ea typeface="ＭＳ Ｐゴシック" charset="-128"/>
                  <a:cs typeface="Arial"/>
                </a:defRPr>
              </a:lvl5pPr>
              <a:lvl6pPr marL="18859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indent="-228600" defTabSz="457200" eaLnBrk="0" hangingPunct="0">
                <a:spcAft>
                  <a:spcPts val="400"/>
                </a:spcAft>
                <a:buClr>
                  <a:srgbClr val="009AC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800" b="0">
                  <a:solidFill>
                    <a:srgbClr val="505150"/>
                  </a:solidFill>
                </a:rPr>
                <a:t>In this example, the request only gives you </a:t>
              </a:r>
              <a:r>
                <a:rPr lang="en-US" sz="1800" b="0">
                  <a:solidFill>
                    <a:srgbClr val="009AC7"/>
                  </a:solidFill>
                </a:rPr>
                <a:t>the most recent tweets </a:t>
              </a:r>
              <a:r>
                <a:rPr lang="en-US" sz="1800" b="0">
                  <a:solidFill>
                    <a:srgbClr val="505150"/>
                  </a:solidFill>
                </a:rPr>
                <a:t>related to the keywords “data science”</a:t>
              </a:r>
            </a:p>
            <a:p>
              <a:pPr marL="228600" indent="-228600" defTabSz="457200" eaLnBrk="0" hangingPunct="0">
                <a:spcAft>
                  <a:spcPts val="400"/>
                </a:spcAft>
                <a:buClr>
                  <a:srgbClr val="009AC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800" b="0">
                  <a:solidFill>
                    <a:srgbClr val="505150"/>
                  </a:solidFill>
                </a:rPr>
                <a:t>If you want to collect more tweets, you should connect to the </a:t>
              </a:r>
              <a:r>
                <a:rPr lang="en-US" sz="1800" b="0">
                  <a:solidFill>
                    <a:srgbClr val="009AC7"/>
                  </a:solidFill>
                </a:rPr>
                <a:t>Twitter stream </a:t>
              </a:r>
              <a:r>
                <a:rPr lang="en-US" sz="1800" b="0">
                  <a:solidFill>
                    <a:srgbClr val="505150"/>
                  </a:solidFill>
                </a:rPr>
                <a:t>and collect data. </a:t>
              </a:r>
            </a:p>
            <a:p>
              <a:pPr marL="228600" indent="-228600" defTabSz="457200" eaLnBrk="0" hangingPunct="0">
                <a:spcAft>
                  <a:spcPts val="400"/>
                </a:spcAft>
                <a:buClr>
                  <a:srgbClr val="009AC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800" b="0">
                  <a:solidFill>
                    <a:srgbClr val="505150"/>
                  </a:solidFill>
                </a:rPr>
                <a:t>The </a:t>
              </a:r>
              <a:r>
                <a:rPr lang="en-US" sz="1800" b="0">
                  <a:solidFill>
                    <a:srgbClr val="009AC7"/>
                  </a:solidFill>
                </a:rPr>
                <a:t>Streaming API </a:t>
              </a:r>
              <a:r>
                <a:rPr lang="en-US" sz="1800" b="0">
                  <a:solidFill>
                    <a:srgbClr val="505150"/>
                  </a:solidFill>
                </a:rPr>
                <a:t>enables you to do this </a:t>
              </a:r>
            </a:p>
            <a:p>
              <a:pPr marL="228600" indent="-228600" defTabSz="457200" eaLnBrk="0" hangingPunct="0">
                <a:spcAft>
                  <a:spcPts val="400"/>
                </a:spcAft>
                <a:buClr>
                  <a:srgbClr val="009AC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800" b="0">
                  <a:solidFill>
                    <a:srgbClr val="505150"/>
                  </a:solidFill>
                </a:rPr>
                <a:t>To access this functionality, you will need to ask for an </a:t>
              </a:r>
              <a:r>
                <a:rPr lang="en-US" sz="1800" b="0">
                  <a:solidFill>
                    <a:srgbClr val="009AC7"/>
                  </a:solidFill>
                </a:rPr>
                <a:t>access token </a:t>
              </a:r>
            </a:p>
            <a:p>
              <a:pPr marL="228600" indent="-228600" defTabSz="457200" eaLnBrk="0" hangingPunct="0">
                <a:spcAft>
                  <a:spcPts val="400"/>
                </a:spcAft>
                <a:buClr>
                  <a:srgbClr val="009AC7"/>
                </a:buClr>
                <a:buSzPct val="100000"/>
                <a:buFont typeface="Arial" panose="020B0604020202020204" pitchFamily="34" charset="0"/>
                <a:buChar char="•"/>
              </a:pPr>
              <a:endParaRPr lang="en-US" sz="1800" b="0">
                <a:solidFill>
                  <a:srgbClr val="505150"/>
                </a:solidFill>
              </a:endParaRPr>
            </a:p>
            <a:p>
              <a:pPr marL="228600" indent="-228600" defTabSz="457200" eaLnBrk="0" hangingPunct="0">
                <a:spcAft>
                  <a:spcPts val="400"/>
                </a:spcAft>
                <a:buClr>
                  <a:srgbClr val="009AC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800" b="0">
                  <a:solidFill>
                    <a:srgbClr val="505150"/>
                  </a:solidFill>
                </a:rPr>
                <a:t>Use the </a:t>
              </a:r>
              <a:r>
                <a:rPr lang="en-US" sz="1800" b="0" err="1">
                  <a:solidFill>
                    <a:srgbClr val="009AC7"/>
                  </a:solidFill>
                </a:rPr>
                <a:t>TwythonStreamer</a:t>
              </a:r>
              <a:r>
                <a:rPr lang="en-US" sz="1800" b="0">
                  <a:solidFill>
                    <a:srgbClr val="009AC7"/>
                  </a:solidFill>
                </a:rPr>
                <a:t> </a:t>
              </a:r>
              <a:r>
                <a:rPr lang="en-US" sz="1800" b="0">
                  <a:solidFill>
                    <a:srgbClr val="505150"/>
                  </a:solidFill>
                </a:rPr>
                <a:t>class in </a:t>
              </a:r>
              <a:r>
                <a:rPr lang="en-US" sz="1800" b="0" err="1">
                  <a:solidFill>
                    <a:srgbClr val="505150"/>
                  </a:solidFill>
                </a:rPr>
                <a:t>Twython</a:t>
              </a:r>
              <a:r>
                <a:rPr lang="en-US" sz="1800" b="0">
                  <a:solidFill>
                    <a:srgbClr val="505150"/>
                  </a:solidFill>
                </a:rPr>
                <a:t> module </a:t>
              </a:r>
            </a:p>
            <a:p>
              <a:pPr marL="228600" indent="-228600" defTabSz="457200" eaLnBrk="0" hangingPunct="0">
                <a:spcAft>
                  <a:spcPts val="400"/>
                </a:spcAft>
                <a:buClr>
                  <a:srgbClr val="009AC7"/>
                </a:buClr>
                <a:buSzPct val="100000"/>
                <a:buFont typeface="Arial" panose="020B0604020202020204" pitchFamily="34" charset="0"/>
                <a:buChar char="•"/>
              </a:pPr>
              <a:endParaRPr lang="en-US" sz="1800" b="0">
                <a:solidFill>
                  <a:srgbClr val="505150"/>
                </a:solidFill>
              </a:endParaRPr>
            </a:p>
            <a:p>
              <a:pPr marL="228600" indent="-228600" defTabSz="457200" eaLnBrk="0" hangingPunct="0">
                <a:spcAft>
                  <a:spcPts val="400"/>
                </a:spcAft>
                <a:buClr>
                  <a:srgbClr val="009AC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800" b="0" err="1">
                  <a:solidFill>
                    <a:srgbClr val="505150"/>
                  </a:solidFill>
                </a:rPr>
                <a:t>TwythonStreamer</a:t>
              </a:r>
              <a:r>
                <a:rPr lang="en-US" sz="1800" b="0">
                  <a:solidFill>
                    <a:srgbClr val="505150"/>
                  </a:solidFill>
                </a:rPr>
                <a:t> has </a:t>
              </a:r>
              <a:r>
                <a:rPr lang="en-US" sz="1800" b="0">
                  <a:solidFill>
                    <a:srgbClr val="009AC7"/>
                  </a:solidFill>
                </a:rPr>
                <a:t>a method called “</a:t>
              </a:r>
              <a:r>
                <a:rPr lang="en-US" sz="1800" b="0" err="1">
                  <a:solidFill>
                    <a:srgbClr val="009AC7"/>
                  </a:solidFill>
                </a:rPr>
                <a:t>on_success</a:t>
              </a:r>
              <a:r>
                <a:rPr lang="en-US" sz="1800" b="0">
                  <a:solidFill>
                    <a:srgbClr val="009AC7"/>
                  </a:solidFill>
                </a:rPr>
                <a:t>”,</a:t>
              </a:r>
              <a:r>
                <a:rPr lang="en-US" sz="1800" b="0">
                  <a:solidFill>
                    <a:srgbClr val="505150"/>
                  </a:solidFill>
                </a:rPr>
                <a:t> which defines </a:t>
              </a:r>
              <a:r>
                <a:rPr lang="en-US" sz="1800" b="0">
                  <a:solidFill>
                    <a:srgbClr val="009AC7"/>
                  </a:solidFill>
                </a:rPr>
                <a:t>when to retrieve a tweet</a:t>
              </a:r>
            </a:p>
            <a:p>
              <a:pPr marL="228600" indent="-228600" defTabSz="457200" eaLnBrk="0" hangingPunct="0">
                <a:spcAft>
                  <a:spcPts val="400"/>
                </a:spcAft>
                <a:buClr>
                  <a:srgbClr val="009AC7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800" b="0">
                  <a:solidFill>
                    <a:srgbClr val="505150"/>
                  </a:solidFill>
                </a:rPr>
                <a:t>You can create a new class out of it in order to retrieve only tweets with a specific attribute </a:t>
              </a:r>
            </a:p>
          </p:txBody>
        </p:sp>
        <p:pic>
          <p:nvPicPr>
            <p:cNvPr id="10" name="Picture 8">
              <a:extLst>
                <a:ext uri="{FF2B5EF4-FFF2-40B4-BE49-F238E27FC236}">
                  <a16:creationId xmlns:a16="http://schemas.microsoft.com/office/drawing/2014/main" id="{5C4B6578-2E90-416A-9EB7-26C3687521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1833" y="3729059"/>
              <a:ext cx="4150590" cy="724376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3456732" y="5607696"/>
            <a:ext cx="5278536" cy="934970"/>
            <a:chOff x="962174" y="5431851"/>
            <a:chExt cx="5278536" cy="934970"/>
          </a:xfrm>
        </p:grpSpPr>
        <p:pic>
          <p:nvPicPr>
            <p:cNvPr id="11" name="Picture 9">
              <a:extLst>
                <a:ext uri="{FF2B5EF4-FFF2-40B4-BE49-F238E27FC236}">
                  <a16:creationId xmlns:a16="http://schemas.microsoft.com/office/drawing/2014/main" id="{A2775241-51EF-4250-A91C-D69232F562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2" b="16168"/>
            <a:stretch/>
          </p:blipFill>
          <p:spPr>
            <a:xfrm>
              <a:off x="1897144" y="5443927"/>
              <a:ext cx="4343566" cy="910818"/>
            </a:xfrm>
            <a:prstGeom prst="rect">
              <a:avLst/>
            </a:prstGeom>
          </p:spPr>
        </p:pic>
        <p:pic>
          <p:nvPicPr>
            <p:cNvPr id="12" name="Picture 33">
              <a:extLst>
                <a:ext uri="{FF2B5EF4-FFF2-40B4-BE49-F238E27FC236}">
                  <a16:creationId xmlns:a16="http://schemas.microsoft.com/office/drawing/2014/main" id="{65560692-DD28-4B67-A043-ADCE088E2D5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62174" y="5431851"/>
              <a:ext cx="934970" cy="934970"/>
            </a:xfrm>
            <a:prstGeom prst="rect">
              <a:avLst/>
            </a:prstGeom>
          </p:spPr>
        </p:pic>
      </p:grpSp>
      <p:sp>
        <p:nvSpPr>
          <p:cNvPr id="15" name="Content Placeholder 5"/>
          <p:cNvSpPr txBox="1">
            <a:spLocks/>
          </p:cNvSpPr>
          <p:nvPr/>
        </p:nvSpPr>
        <p:spPr>
          <a:xfrm>
            <a:off x="1231715" y="1530619"/>
            <a:ext cx="9728571" cy="689470"/>
          </a:xfrm>
          <a:prstGeom prst="rect">
            <a:avLst/>
          </a:prstGeom>
        </p:spPr>
        <p:txBody>
          <a:bodyPr anchor="ctr"/>
          <a:lstStyle>
            <a:lvl1pPr marL="263525" indent="-263525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 sz="14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marL="538163" indent="-266700" algn="l" rtl="0" eaLnBrk="0" fontAlgn="base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marL="712788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1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marL="893763" indent="-18097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marL="1165225" indent="-27146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»"/>
              <a:defRPr sz="1000" kern="1200">
                <a:solidFill>
                  <a:srgbClr val="26262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8DC63F"/>
              </a:buClr>
              <a:buNone/>
            </a:pPr>
            <a:r>
              <a:rPr lang="en-US" sz="1800" b="1">
                <a:solidFill>
                  <a:srgbClr val="009AC7"/>
                </a:solidFill>
                <a:latin typeface="Arial"/>
              </a:rPr>
              <a:t>Look for more advanced features of the API in order to get more precise information</a:t>
            </a:r>
          </a:p>
        </p:txBody>
      </p:sp>
    </p:spTree>
    <p:extLst>
      <p:ext uri="{BB962C8B-B14F-4D97-AF65-F5344CB8AC3E}">
        <p14:creationId xmlns:p14="http://schemas.microsoft.com/office/powerpoint/2010/main" val="347593144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ing APIs: Twitter API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7A69B192-2AD3-4FF3-978E-2BD1063AD5EA}"/>
              </a:ext>
            </a:extLst>
          </p:cNvPr>
          <p:cNvSpPr txBox="1">
            <a:spLocks/>
          </p:cNvSpPr>
          <p:nvPr/>
        </p:nvSpPr>
        <p:spPr bwMode="auto">
          <a:xfrm>
            <a:off x="407989" y="1708174"/>
            <a:ext cx="11549549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SzPct val="110000"/>
              <a:buFontTx/>
              <a:buNone/>
              <a:defRPr sz="1350" b="1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1pPr>
            <a:lvl2pPr marL="34290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SzPct val="8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2pPr>
            <a:lvl3pPr marL="51435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3pPr>
            <a:lvl4pPr marL="68580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Font typeface="Arial" charset="0"/>
              <a:buChar char="•"/>
              <a:defRPr sz="75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4pPr>
            <a:lvl5pPr marL="857250" indent="-171450" algn="l" defTabSz="342900" rtl="0" eaLnBrk="1" fontAlgn="base" hangingPunct="1">
              <a:spcBef>
                <a:spcPts val="0"/>
              </a:spcBef>
              <a:spcAft>
                <a:spcPts val="150"/>
              </a:spcAft>
              <a:buClr>
                <a:schemeClr val="bg2"/>
              </a:buClr>
              <a:buFont typeface="Arial" charset="0"/>
              <a:buChar char="•"/>
              <a:defRPr sz="75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rgbClr val="505150"/>
                </a:solidFill>
              </a:rPr>
              <a:t>Enter you </a:t>
            </a:r>
            <a:r>
              <a:rPr lang="en-US" sz="1600" b="0">
                <a:solidFill>
                  <a:srgbClr val="009AC7"/>
                </a:solidFill>
              </a:rPr>
              <a:t>access token </a:t>
            </a:r>
            <a:r>
              <a:rPr lang="en-US" sz="1600" b="0">
                <a:solidFill>
                  <a:srgbClr val="505150"/>
                </a:solidFill>
              </a:rPr>
              <a:t>and </a:t>
            </a:r>
            <a:r>
              <a:rPr lang="en-US" sz="1600" b="0">
                <a:solidFill>
                  <a:srgbClr val="009AC7"/>
                </a:solidFill>
              </a:rPr>
              <a:t>authenticate</a:t>
            </a:r>
            <a:r>
              <a:rPr lang="en-US" sz="1600" b="0">
                <a:solidFill>
                  <a:srgbClr val="505150"/>
                </a:solidFill>
              </a:rPr>
              <a:t> yourself </a:t>
            </a: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rgbClr val="505150"/>
                </a:solidFill>
              </a:rPr>
              <a:t>Then use a </a:t>
            </a:r>
            <a:r>
              <a:rPr lang="en-US" sz="1600" b="0">
                <a:solidFill>
                  <a:srgbClr val="009AC7"/>
                </a:solidFill>
              </a:rPr>
              <a:t>status filter </a:t>
            </a:r>
            <a:r>
              <a:rPr lang="en-US" sz="1600" b="0">
                <a:solidFill>
                  <a:srgbClr val="505150"/>
                </a:solidFill>
              </a:rPr>
              <a:t>in order to track a particular term </a:t>
            </a: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rgbClr val="505150"/>
                </a:solidFill>
              </a:rPr>
              <a:t>This command will print a </a:t>
            </a:r>
            <a:r>
              <a:rPr lang="en-US" sz="1600" b="0">
                <a:solidFill>
                  <a:srgbClr val="009AC7"/>
                </a:solidFill>
              </a:rPr>
              <a:t>stream of tweets </a:t>
            </a:r>
            <a:r>
              <a:rPr lang="en-US" sz="1600" b="0">
                <a:solidFill>
                  <a:srgbClr val="505150"/>
                </a:solidFill>
              </a:rPr>
              <a:t>corresponding to the </a:t>
            </a:r>
            <a:r>
              <a:rPr lang="en-US" sz="1600" b="0">
                <a:solidFill>
                  <a:srgbClr val="009AC7"/>
                </a:solidFill>
              </a:rPr>
              <a:t>filter “data science”</a:t>
            </a:r>
          </a:p>
          <a:p>
            <a:pPr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</a:pPr>
            <a:endParaRPr lang="en-US" sz="1600" b="0">
              <a:solidFill>
                <a:srgbClr val="009AC7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0">
              <a:solidFill>
                <a:srgbClr val="505150"/>
              </a:solidFill>
            </a:endParaRPr>
          </a:p>
          <a:p>
            <a:pPr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</a:pPr>
            <a:endParaRPr lang="en-US" sz="1600" b="0">
              <a:solidFill>
                <a:srgbClr val="505150"/>
              </a:solidFill>
            </a:endParaRPr>
          </a:p>
          <a:p>
            <a:pPr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</a:pPr>
            <a:endParaRPr lang="en-US" sz="1600" b="0">
              <a:solidFill>
                <a:srgbClr val="505150"/>
              </a:solidFill>
            </a:endParaRPr>
          </a:p>
          <a:p>
            <a:pPr marL="228600" indent="-228600" defTabSz="457200" eaLnBrk="0" hangingPunct="0"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rgbClr val="505150"/>
                </a:solidFill>
              </a:rPr>
              <a:t>Then you can store these tweets into the </a:t>
            </a:r>
            <a:r>
              <a:rPr lang="en-US" sz="1600" b="0">
                <a:solidFill>
                  <a:srgbClr val="009AC7"/>
                </a:solidFill>
              </a:rPr>
              <a:t>format of your choice </a:t>
            </a:r>
            <a:r>
              <a:rPr lang="en-US" sz="1600" b="0">
                <a:solidFill>
                  <a:srgbClr val="505150"/>
                </a:solidFill>
              </a:rPr>
              <a:t>and create a </a:t>
            </a:r>
            <a:r>
              <a:rPr lang="en-US" sz="1600" b="0">
                <a:solidFill>
                  <a:srgbClr val="009AC7"/>
                </a:solidFill>
              </a:rPr>
              <a:t>dataset </a:t>
            </a: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US" sz="1600" b="0">
              <a:solidFill>
                <a:srgbClr val="009AC7"/>
              </a:solidFill>
            </a:endParaRP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9AC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05150"/>
              </a:solidFill>
              <a:effectLst/>
              <a:uLnTx/>
              <a:uFillTx/>
            </a:endParaRPr>
          </a:p>
        </p:txBody>
      </p:sp>
      <p:pic>
        <p:nvPicPr>
          <p:cNvPr id="16" name="Picture 7">
            <a:extLst>
              <a:ext uri="{FF2B5EF4-FFF2-40B4-BE49-F238E27FC236}">
                <a16:creationId xmlns:a16="http://schemas.microsoft.com/office/drawing/2014/main" id="{E8A99BFF-A3C1-4EE8-807A-6B8C23A858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861" y="1879274"/>
            <a:ext cx="7144673" cy="641188"/>
          </a:xfrm>
          <a:prstGeom prst="rect">
            <a:avLst/>
          </a:prstGeom>
        </p:spPr>
      </p:pic>
      <p:pic>
        <p:nvPicPr>
          <p:cNvPr id="17" name="Picture 10">
            <a:extLst>
              <a:ext uri="{FF2B5EF4-FFF2-40B4-BE49-F238E27FC236}">
                <a16:creationId xmlns:a16="http://schemas.microsoft.com/office/drawing/2014/main" id="{A5432840-FE58-43AF-B71E-5682E8B0B2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121" y="1879274"/>
            <a:ext cx="3442432" cy="1426634"/>
          </a:xfrm>
          <a:prstGeom prst="rect">
            <a:avLst/>
          </a:prstGeom>
        </p:spPr>
      </p:pic>
      <p:pic>
        <p:nvPicPr>
          <p:cNvPr id="18" name="Picture 11">
            <a:extLst>
              <a:ext uri="{FF2B5EF4-FFF2-40B4-BE49-F238E27FC236}">
                <a16:creationId xmlns:a16="http://schemas.microsoft.com/office/drawing/2014/main" id="{D78487A8-361C-4DD3-BBE0-9174B16F66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42" y="3637295"/>
            <a:ext cx="6137495" cy="600244"/>
          </a:xfrm>
          <a:prstGeom prst="rect">
            <a:avLst/>
          </a:prstGeom>
        </p:spPr>
      </p:pic>
      <p:pic>
        <p:nvPicPr>
          <p:cNvPr id="19" name="Picture 12">
            <a:extLst>
              <a:ext uri="{FF2B5EF4-FFF2-40B4-BE49-F238E27FC236}">
                <a16:creationId xmlns:a16="http://schemas.microsoft.com/office/drawing/2014/main" id="{53C9423E-CBD1-461A-9017-0FFF0B18D68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42" y="4561731"/>
            <a:ext cx="9623798" cy="1427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6742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86187" y="1685924"/>
            <a:ext cx="7815262" cy="46258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250000"/>
              </a:lnSpc>
              <a:buAutoNum type="arabicPeriod"/>
            </a:pPr>
            <a:r>
              <a:rPr lang="fr-FR" err="1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view</a:t>
            </a:r>
            <a:r>
              <a:rPr lang="fr-FR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of </a:t>
            </a:r>
            <a:r>
              <a:rPr lang="fr-FR" err="1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gress</a:t>
            </a:r>
            <a:r>
              <a:rPr lang="fr-FR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mad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XPath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ing with </a:t>
            </a:r>
            <a:r>
              <a:rPr lang="en-US" err="1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y</a:t>
            </a:r>
            <a:endParaRPr lang="en-US">
              <a:solidFill>
                <a:schemeClr val="tx1">
                  <a:lumMod val="50000"/>
                  <a:lumOff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PI’s at a glanc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 b="1">
                <a:solidFill>
                  <a:srgbClr val="22759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Business Cas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mmary of the session</a:t>
            </a:r>
          </a:p>
          <a:p>
            <a:pPr marL="342900" indent="-342900">
              <a:lnSpc>
                <a:spcPct val="20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 next week...</a:t>
            </a:r>
            <a:endParaRPr lang="fr-FR">
              <a:solidFill>
                <a:schemeClr val="tx1">
                  <a:lumMod val="50000"/>
                  <a:lumOff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09331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/>
              <a:t>What is a data use case?</a:t>
            </a:r>
            <a:endParaRPr lang="en-US" sz="280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CA4C992-4296-4D83-946F-5514FE405232}"/>
              </a:ext>
            </a:extLst>
          </p:cNvPr>
          <p:cNvGrpSpPr/>
          <p:nvPr/>
        </p:nvGrpSpPr>
        <p:grpSpPr>
          <a:xfrm>
            <a:off x="1773841" y="3002318"/>
            <a:ext cx="688851" cy="2013805"/>
            <a:chOff x="249840" y="2340471"/>
            <a:chExt cx="688851" cy="2013805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F7A9511-07CD-4216-8555-25EEA492A3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257"/>
            <a:stretch/>
          </p:blipFill>
          <p:spPr>
            <a:xfrm>
              <a:off x="249840" y="2340471"/>
              <a:ext cx="688851" cy="569977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AAE9505-6263-4BCD-82BA-3281EF1042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257"/>
            <a:stretch/>
          </p:blipFill>
          <p:spPr>
            <a:xfrm>
              <a:off x="249840" y="3062385"/>
              <a:ext cx="688851" cy="569977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0579ADA-2776-4F56-A307-5C321468E2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257"/>
            <a:stretch/>
          </p:blipFill>
          <p:spPr>
            <a:xfrm>
              <a:off x="249840" y="3784299"/>
              <a:ext cx="688851" cy="569977"/>
            </a:xfrm>
            <a:prstGeom prst="rect">
              <a:avLst/>
            </a:prstGeom>
          </p:spPr>
        </p:pic>
      </p:grpSp>
      <p:sp>
        <p:nvSpPr>
          <p:cNvPr id="8" name="Right Brace 7">
            <a:extLst>
              <a:ext uri="{FF2B5EF4-FFF2-40B4-BE49-F238E27FC236}">
                <a16:creationId xmlns:a16="http://schemas.microsoft.com/office/drawing/2014/main" id="{7C9A7DED-65F2-4C4D-B5EE-FC81C9420FA5}"/>
              </a:ext>
            </a:extLst>
          </p:cNvPr>
          <p:cNvSpPr/>
          <p:nvPr/>
        </p:nvSpPr>
        <p:spPr bwMode="auto">
          <a:xfrm>
            <a:off x="2449852" y="2943763"/>
            <a:ext cx="329205" cy="2130915"/>
          </a:xfrm>
          <a:prstGeom prst="rightBrace">
            <a:avLst>
              <a:gd name="adj1" fmla="val 85476"/>
              <a:gd name="adj2" fmla="val 50000"/>
            </a:avLst>
          </a:prstGeom>
          <a:noFill/>
          <a:ln w="19050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latin typeface="Arial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B77CA1B-AC0C-4336-B811-C1A24748F924}"/>
              </a:ext>
            </a:extLst>
          </p:cNvPr>
          <p:cNvGrpSpPr/>
          <p:nvPr/>
        </p:nvGrpSpPr>
        <p:grpSpPr>
          <a:xfrm>
            <a:off x="2917940" y="2720101"/>
            <a:ext cx="2652283" cy="2578236"/>
            <a:chOff x="1408595" y="2597992"/>
            <a:chExt cx="2652283" cy="257823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5F6B84D-C569-4354-9515-750D9F34B717}"/>
                </a:ext>
              </a:extLst>
            </p:cNvPr>
            <p:cNvSpPr/>
            <p:nvPr/>
          </p:nvSpPr>
          <p:spPr bwMode="auto">
            <a:xfrm>
              <a:off x="1408595" y="2597992"/>
              <a:ext cx="2652283" cy="2578236"/>
            </a:xfrm>
            <a:prstGeom prst="rect">
              <a:avLst/>
            </a:prstGeom>
            <a:solidFill>
              <a:srgbClr val="EBEBEB"/>
            </a:solidFill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400" b="1">
                <a:solidFill>
                  <a:schemeClr val="tx2"/>
                </a:solidFill>
                <a:latin typeface="Arial" charset="0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>
                  <a:solidFill>
                    <a:schemeClr val="tx2"/>
                  </a:solidFill>
                  <a:latin typeface="Arial" charset="0"/>
                </a:rPr>
                <a:t> </a:t>
              </a:r>
              <a:r>
                <a:rPr lang="en-US" sz="1400" b="1">
                  <a:latin typeface="Arial" charset="0"/>
                </a:rPr>
                <a:t>Analytical solution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81EE165-19B9-4980-958B-0AE8A445ACB0}"/>
                </a:ext>
              </a:extLst>
            </p:cNvPr>
            <p:cNvGrpSpPr/>
            <p:nvPr/>
          </p:nvGrpSpPr>
          <p:grpSpPr>
            <a:xfrm>
              <a:off x="1482005" y="3371115"/>
              <a:ext cx="2555468" cy="1712270"/>
              <a:chOff x="1458839" y="3371115"/>
              <a:chExt cx="2555468" cy="1712270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603E3E18-AF7B-4EB5-91F9-6808C81EAE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0F0F0"/>
                  </a:clrFrom>
                  <a:clrTo>
                    <a:srgbClr val="F0F0F0">
                      <a:alpha val="0"/>
                    </a:srgbClr>
                  </a:clrTo>
                </a:clrChange>
              </a:blip>
              <a:srcRect l="10164" r="7091"/>
              <a:stretch/>
            </p:blipFill>
            <p:spPr>
              <a:xfrm flipH="1">
                <a:off x="1716482" y="3990475"/>
                <a:ext cx="1124109" cy="1092910"/>
              </a:xfrm>
              <a:prstGeom prst="rect">
                <a:avLst/>
              </a:prstGeom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5C9106C1-2771-487F-B693-3CEEDE17133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grayscl/>
              </a:blip>
              <a:srcRect l="5676" t="10232" r="4154" b="10765"/>
              <a:stretch/>
            </p:blipFill>
            <p:spPr>
              <a:xfrm>
                <a:off x="3135037" y="3458224"/>
                <a:ext cx="614320" cy="538243"/>
              </a:xfrm>
              <a:prstGeom prst="rect">
                <a:avLst/>
              </a:prstGeom>
            </p:spPr>
          </p:pic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E5285FB-594E-4021-89DA-D5DC127FA983}"/>
                  </a:ext>
                </a:extLst>
              </p:cNvPr>
              <p:cNvSpPr/>
              <p:nvPr/>
            </p:nvSpPr>
            <p:spPr>
              <a:xfrm>
                <a:off x="2870087" y="3997677"/>
                <a:ext cx="1144220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>
                    <a:solidFill>
                      <a:schemeClr val="tx1">
                        <a:lumMod val="60000"/>
                        <a:lumOff val="40000"/>
                      </a:schemeClr>
                    </a:solidFill>
                    <a:cs typeface="Calibri" pitchFamily="34" charset="0"/>
                  </a:rPr>
                  <a:t>Analytical approaches</a:t>
                </a:r>
                <a:endParaRPr lang="en-US" sz="1400">
                  <a:solidFill>
                    <a:schemeClr val="tx1">
                      <a:lumMod val="60000"/>
                      <a:lumOff val="40000"/>
                    </a:schemeClr>
                  </a:solidFill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9BED735-B929-4460-812D-CDEC8B981AC0}"/>
                  </a:ext>
                </a:extLst>
              </p:cNvPr>
              <p:cNvSpPr/>
              <p:nvPr/>
            </p:nvSpPr>
            <p:spPr>
              <a:xfrm>
                <a:off x="1458839" y="3371115"/>
                <a:ext cx="1639394" cy="7386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>
                    <a:solidFill>
                      <a:schemeClr val="tx1">
                        <a:lumMod val="60000"/>
                        <a:lumOff val="40000"/>
                      </a:schemeClr>
                    </a:solidFill>
                    <a:cs typeface="Calibri" pitchFamily="34" charset="0"/>
                  </a:rPr>
                  <a:t>Big data technologies</a:t>
                </a:r>
                <a:br>
                  <a:rPr lang="en-US" sz="1400">
                    <a:solidFill>
                      <a:schemeClr val="tx1">
                        <a:lumMod val="60000"/>
                        <a:lumOff val="40000"/>
                      </a:schemeClr>
                    </a:solidFill>
                    <a:cs typeface="Calibri" pitchFamily="34" charset="0"/>
                  </a:rPr>
                </a:br>
                <a:r>
                  <a:rPr lang="en-US" sz="1400">
                    <a:solidFill>
                      <a:schemeClr val="tx1">
                        <a:lumMod val="60000"/>
                        <a:lumOff val="40000"/>
                      </a:schemeClr>
                    </a:solidFill>
                    <a:cs typeface="Calibri" pitchFamily="34" charset="0"/>
                  </a:rPr>
                  <a:t> &amp; capabilities</a:t>
                </a:r>
                <a:endParaRPr lang="en-US" sz="1400">
                  <a:solidFill>
                    <a:schemeClr val="tx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F8CA12A-9759-4D33-BE75-705665486CD3}"/>
              </a:ext>
            </a:extLst>
          </p:cNvPr>
          <p:cNvGrpSpPr/>
          <p:nvPr/>
        </p:nvGrpSpPr>
        <p:grpSpPr>
          <a:xfrm>
            <a:off x="5703859" y="3216441"/>
            <a:ext cx="1419933" cy="1585559"/>
            <a:chOff x="4179858" y="2718943"/>
            <a:chExt cx="1419933" cy="1585559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83248DE-BF75-42CC-8BCF-D2F647F01911}"/>
                </a:ext>
              </a:extLst>
            </p:cNvPr>
            <p:cNvGrpSpPr/>
            <p:nvPr/>
          </p:nvGrpSpPr>
          <p:grpSpPr>
            <a:xfrm>
              <a:off x="4179858" y="2718943"/>
              <a:ext cx="1406264" cy="812483"/>
              <a:chOff x="4351599" y="2918971"/>
              <a:chExt cx="1406264" cy="812483"/>
            </a:xfrm>
          </p:grpSpPr>
          <p:sp>
            <p:nvSpPr>
              <p:cNvPr id="21" name="Right Arrow 33">
                <a:extLst>
                  <a:ext uri="{FF2B5EF4-FFF2-40B4-BE49-F238E27FC236}">
                    <a16:creationId xmlns:a16="http://schemas.microsoft.com/office/drawing/2014/main" id="{3F8AE2E4-045A-40B2-B97C-D743C45B2224}"/>
                  </a:ext>
                </a:extLst>
              </p:cNvPr>
              <p:cNvSpPr/>
              <p:nvPr/>
            </p:nvSpPr>
            <p:spPr bwMode="auto">
              <a:xfrm>
                <a:off x="4351599" y="2918971"/>
                <a:ext cx="1406264" cy="812483"/>
              </a:xfrm>
              <a:prstGeom prst="rightArrow">
                <a:avLst>
                  <a:gd name="adj1" fmla="val 62919"/>
                  <a:gd name="adj2" fmla="val 38696"/>
                </a:avLst>
              </a:prstGeom>
              <a:solidFill>
                <a:srgbClr val="EBEBEB"/>
              </a:solidFill>
              <a:ln w="12700" cap="flat" cmpd="sng" algn="ctr">
                <a:noFill/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400" b="1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3B95395B-6D4A-4814-ACC3-2A5AB9987A44}"/>
                  </a:ext>
                </a:extLst>
              </p:cNvPr>
              <p:cNvSpPr/>
              <p:nvPr/>
            </p:nvSpPr>
            <p:spPr>
              <a:xfrm>
                <a:off x="4384764" y="3121054"/>
                <a:ext cx="1259375" cy="40831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200"/>
                  </a:lnSpc>
                </a:pPr>
                <a:r>
                  <a:rPr lang="en-US" sz="1400" b="1">
                    <a:cs typeface="Calibri" pitchFamily="34" charset="0"/>
                  </a:rPr>
                  <a:t>Actionable insights </a:t>
                </a:r>
                <a:endParaRPr lang="en-US" sz="1400" b="1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1C60B19-0CF6-4BFE-9355-A44A9939AA9A}"/>
                </a:ext>
              </a:extLst>
            </p:cNvPr>
            <p:cNvGrpSpPr/>
            <p:nvPr/>
          </p:nvGrpSpPr>
          <p:grpSpPr>
            <a:xfrm>
              <a:off x="4179858" y="3492019"/>
              <a:ext cx="1419933" cy="812483"/>
              <a:chOff x="4415863" y="3962721"/>
              <a:chExt cx="1419933" cy="812483"/>
            </a:xfrm>
          </p:grpSpPr>
          <p:sp>
            <p:nvSpPr>
              <p:cNvPr id="19" name="Right Arrow 31">
                <a:extLst>
                  <a:ext uri="{FF2B5EF4-FFF2-40B4-BE49-F238E27FC236}">
                    <a16:creationId xmlns:a16="http://schemas.microsoft.com/office/drawing/2014/main" id="{17BDFC7D-6C12-4FB0-BE84-EC43CBE24B5C}"/>
                  </a:ext>
                </a:extLst>
              </p:cNvPr>
              <p:cNvSpPr/>
              <p:nvPr/>
            </p:nvSpPr>
            <p:spPr bwMode="auto">
              <a:xfrm>
                <a:off x="4429532" y="3962721"/>
                <a:ext cx="1406264" cy="812483"/>
              </a:xfrm>
              <a:prstGeom prst="rightArrow">
                <a:avLst>
                  <a:gd name="adj1" fmla="val 62919"/>
                  <a:gd name="adj2" fmla="val 38696"/>
                </a:avLst>
              </a:prstGeom>
              <a:solidFill>
                <a:srgbClr val="EBEBEB"/>
              </a:solidFill>
              <a:ln w="12700" cap="flat" cmpd="sng" algn="ctr">
                <a:noFill/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400" b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B6E66E87-58C4-4237-AF98-FB7229F903E5}"/>
                  </a:ext>
                </a:extLst>
              </p:cNvPr>
              <p:cNvSpPr/>
              <p:nvPr/>
            </p:nvSpPr>
            <p:spPr>
              <a:xfrm>
                <a:off x="4415863" y="4164804"/>
                <a:ext cx="1342000" cy="40831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200"/>
                  </a:lnSpc>
                </a:pPr>
                <a:r>
                  <a:rPr lang="en-US" sz="1400" b="1">
                    <a:cs typeface="Calibri" pitchFamily="34" charset="0"/>
                  </a:rPr>
                  <a:t>Automated actions</a:t>
                </a:r>
              </a:p>
            </p:txBody>
          </p:sp>
        </p:grpSp>
      </p:grpSp>
      <p:cxnSp>
        <p:nvCxnSpPr>
          <p:cNvPr id="23" name="Elbow Connector 11">
            <a:extLst>
              <a:ext uri="{FF2B5EF4-FFF2-40B4-BE49-F238E27FC236}">
                <a16:creationId xmlns:a16="http://schemas.microsoft.com/office/drawing/2014/main" id="{2E724638-677E-4EF1-B5EF-D9E7A71090C6}"/>
              </a:ext>
            </a:extLst>
          </p:cNvPr>
          <p:cNvCxnSpPr>
            <a:stCxn id="28" idx="0"/>
            <a:endCxn id="10" idx="0"/>
          </p:cNvCxnSpPr>
          <p:nvPr/>
        </p:nvCxnSpPr>
        <p:spPr bwMode="auto">
          <a:xfrm rot="16200000" flipV="1">
            <a:off x="5685413" y="1278770"/>
            <a:ext cx="684438" cy="3567101"/>
          </a:xfrm>
          <a:prstGeom prst="bentConnector3">
            <a:avLst>
              <a:gd name="adj1" fmla="val 133400"/>
            </a:avLst>
          </a:prstGeom>
          <a:solidFill>
            <a:schemeClr val="accent1"/>
          </a:solidFill>
          <a:ln w="19050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412C0E2-81C2-4D43-A81D-7699FE0734CB}"/>
              </a:ext>
            </a:extLst>
          </p:cNvPr>
          <p:cNvGrpSpPr/>
          <p:nvPr/>
        </p:nvGrpSpPr>
        <p:grpSpPr>
          <a:xfrm>
            <a:off x="3974667" y="1785826"/>
            <a:ext cx="4105930" cy="696086"/>
            <a:chOff x="3263629" y="1035058"/>
            <a:chExt cx="4105930" cy="696086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5FA5E1D-DB32-43AE-881C-088D32B95FB4}"/>
                </a:ext>
              </a:extLst>
            </p:cNvPr>
            <p:cNvSpPr txBox="1"/>
            <p:nvPr/>
          </p:nvSpPr>
          <p:spPr>
            <a:xfrm>
              <a:off x="3263629" y="1130980"/>
              <a:ext cx="4105930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400" b="1">
                  <a:solidFill>
                    <a:schemeClr val="accent2"/>
                  </a:solidFill>
                </a:rPr>
                <a:t>Business decision</a:t>
              </a:r>
            </a:p>
            <a:p>
              <a:pPr algn="ctr"/>
              <a:r>
                <a:rPr lang="en-US" sz="1400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In the context of a specific business process</a:t>
              </a: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691BB214-DA1A-4C38-836F-3E795E542B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084" r="12500" b="13958"/>
            <a:stretch/>
          </p:blipFill>
          <p:spPr>
            <a:xfrm>
              <a:off x="4046222" y="1035058"/>
              <a:ext cx="378714" cy="432069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F22083F-EC6F-45B3-BC6D-6F925C3E1409}"/>
              </a:ext>
            </a:extLst>
          </p:cNvPr>
          <p:cNvGrpSpPr/>
          <p:nvPr/>
        </p:nvGrpSpPr>
        <p:grpSpPr>
          <a:xfrm>
            <a:off x="7240329" y="3404540"/>
            <a:ext cx="1174730" cy="1178583"/>
            <a:chOff x="5741750" y="3613745"/>
            <a:chExt cx="1174730" cy="1178583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21F538CF-7B6F-45F0-81DC-4EF2A21ECC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164"/>
            <a:stretch/>
          </p:blipFill>
          <p:spPr>
            <a:xfrm>
              <a:off x="5793801" y="3613745"/>
              <a:ext cx="1037604" cy="859513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2715BD5-181F-4762-9E03-2B3810F3C41C}"/>
                </a:ext>
              </a:extLst>
            </p:cNvPr>
            <p:cNvSpPr txBox="1"/>
            <p:nvPr/>
          </p:nvSpPr>
          <p:spPr>
            <a:xfrm>
              <a:off x="5741750" y="4484551"/>
              <a:ext cx="11747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accent2"/>
                  </a:solidFill>
                </a:rPr>
                <a:t>End-user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A97EB94-D087-4815-82BF-0740B3772018}"/>
              </a:ext>
            </a:extLst>
          </p:cNvPr>
          <p:cNvGrpSpPr/>
          <p:nvPr/>
        </p:nvGrpSpPr>
        <p:grpSpPr>
          <a:xfrm>
            <a:off x="8715299" y="3075530"/>
            <a:ext cx="1597127" cy="1867378"/>
            <a:chOff x="7650581" y="3451539"/>
            <a:chExt cx="1597127" cy="1867378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DA880461-16E8-4FBE-8151-37A360BF9D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708"/>
            <a:stretch/>
          </p:blipFill>
          <p:spPr>
            <a:xfrm>
              <a:off x="8093507" y="3451539"/>
              <a:ext cx="711274" cy="620883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1FF5C09-D070-451A-99EC-4918F7BCAFF9}"/>
                </a:ext>
              </a:extLst>
            </p:cNvPr>
            <p:cNvSpPr txBox="1"/>
            <p:nvPr/>
          </p:nvSpPr>
          <p:spPr>
            <a:xfrm>
              <a:off x="7650581" y="4072422"/>
              <a:ext cx="1597127" cy="12464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00"/>
                </a:lnSpc>
              </a:pPr>
              <a:r>
                <a:rPr lang="en-US" sz="1400" b="1">
                  <a:solidFill>
                    <a:schemeClr val="accent2"/>
                  </a:solidFill>
                </a:rPr>
                <a:t>Business value</a:t>
              </a:r>
              <a:r>
                <a:rPr lang="en-US" sz="1400" b="1">
                  <a:solidFill>
                    <a:schemeClr val="tx2"/>
                  </a:solidFill>
                </a:rPr>
                <a:t> …</a:t>
              </a:r>
            </a:p>
            <a:p>
              <a:pPr algn="ctr">
                <a:lnSpc>
                  <a:spcPts val="1500"/>
                </a:lnSpc>
              </a:pPr>
              <a:endParaRPr lang="en-US" sz="1400" b="1">
                <a:solidFill>
                  <a:schemeClr val="tx2"/>
                </a:solidFill>
              </a:endParaRPr>
            </a:p>
            <a:p>
              <a:pPr algn="ctr">
                <a:lnSpc>
                  <a:spcPts val="1500"/>
                </a:lnSpc>
              </a:pPr>
              <a:r>
                <a:rPr lang="en-US" sz="1400">
                  <a:solidFill>
                    <a:schemeClr val="tx2"/>
                  </a:solidFill>
                  <a:cs typeface="Calibri" pitchFamily="34" charset="0"/>
                </a:rPr>
                <a:t>… measured with </a:t>
              </a:r>
              <a:r>
                <a:rPr lang="en-US" sz="1400" b="1">
                  <a:solidFill>
                    <a:schemeClr val="accent2"/>
                  </a:solidFill>
                  <a:cs typeface="Calibri" pitchFamily="34" charset="0"/>
                </a:rPr>
                <a:t>KPIS</a:t>
              </a:r>
              <a:endParaRPr lang="en-US" sz="1400" b="1">
                <a:solidFill>
                  <a:schemeClr val="accent2"/>
                </a:solidFill>
              </a:endParaRPr>
            </a:p>
            <a:p>
              <a:pPr algn="ctr">
                <a:lnSpc>
                  <a:spcPts val="1500"/>
                </a:lnSpc>
              </a:pPr>
              <a:endParaRPr lang="en-US" sz="1400" b="1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A4DF064F-833F-40AA-9D40-0EF711EE76D5}"/>
              </a:ext>
            </a:extLst>
          </p:cNvPr>
          <p:cNvSpPr txBox="1"/>
          <p:nvPr/>
        </p:nvSpPr>
        <p:spPr>
          <a:xfrm>
            <a:off x="1535451" y="5371335"/>
            <a:ext cx="117473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400" b="1">
                <a:solidFill>
                  <a:schemeClr val="bg2"/>
                </a:solidFill>
              </a:rPr>
              <a:t>Data sources</a:t>
            </a:r>
          </a:p>
        </p:txBody>
      </p:sp>
      <p:sp>
        <p:nvSpPr>
          <p:cNvPr id="34" name="Right Brace 33">
            <a:extLst>
              <a:ext uri="{FF2B5EF4-FFF2-40B4-BE49-F238E27FC236}">
                <a16:creationId xmlns:a16="http://schemas.microsoft.com/office/drawing/2014/main" id="{CFDC2AC4-A250-4868-AC62-B9E53D541FCC}"/>
              </a:ext>
            </a:extLst>
          </p:cNvPr>
          <p:cNvSpPr/>
          <p:nvPr/>
        </p:nvSpPr>
        <p:spPr bwMode="auto">
          <a:xfrm>
            <a:off x="8386846" y="2943763"/>
            <a:ext cx="329205" cy="2130915"/>
          </a:xfrm>
          <a:prstGeom prst="rightBrace">
            <a:avLst>
              <a:gd name="adj1" fmla="val 85476"/>
              <a:gd name="adj2" fmla="val 50000"/>
            </a:avLst>
          </a:prstGeom>
          <a:noFill/>
          <a:ln w="19050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latin typeface="Arial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DD6F92C-8FAB-430E-9074-6F47B1DAD720}"/>
              </a:ext>
            </a:extLst>
          </p:cNvPr>
          <p:cNvGrpSpPr/>
          <p:nvPr/>
        </p:nvGrpSpPr>
        <p:grpSpPr>
          <a:xfrm>
            <a:off x="3599496" y="5402640"/>
            <a:ext cx="4208724" cy="576550"/>
            <a:chOff x="1870908" y="4928140"/>
            <a:chExt cx="4560047" cy="624677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536D221B-BFAA-4FAC-92F5-6EC4139130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25" t="14375" r="22083" b="27708"/>
            <a:stretch/>
          </p:blipFill>
          <p:spPr>
            <a:xfrm>
              <a:off x="1870908" y="4928140"/>
              <a:ext cx="644900" cy="624677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E6BB8FB0-62FB-4BC5-BC49-AF0D6DAEC5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25" t="14375" r="22083" b="27708"/>
            <a:stretch/>
          </p:blipFill>
          <p:spPr>
            <a:xfrm>
              <a:off x="3828482" y="4928140"/>
              <a:ext cx="644900" cy="624677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E2DE711A-631C-4C5F-8018-31128E1F5E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25" t="14375" r="22083" b="27708"/>
            <a:stretch/>
          </p:blipFill>
          <p:spPr>
            <a:xfrm>
              <a:off x="5786055" y="4928140"/>
              <a:ext cx="644900" cy="624677"/>
            </a:xfrm>
            <a:prstGeom prst="rect">
              <a:avLst/>
            </a:prstGeom>
          </p:spPr>
        </p:pic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3F37D60-12B5-47DF-9C1B-28C24C28AB37}"/>
              </a:ext>
            </a:extLst>
          </p:cNvPr>
          <p:cNvSpPr txBox="1"/>
          <p:nvPr/>
        </p:nvSpPr>
        <p:spPr>
          <a:xfrm>
            <a:off x="3096827" y="5921442"/>
            <a:ext cx="52414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accent4"/>
                </a:solidFill>
              </a:rPr>
              <a:t>Iterative proces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D5B7045-61C5-4DD7-933C-E596018E0294}"/>
              </a:ext>
            </a:extLst>
          </p:cNvPr>
          <p:cNvSpPr/>
          <p:nvPr/>
        </p:nvSpPr>
        <p:spPr>
          <a:xfrm>
            <a:off x="5600338" y="2977001"/>
            <a:ext cx="14455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tx1">
                    <a:lumMod val="50000"/>
                    <a:lumOff val="50000"/>
                  </a:schemeClr>
                </a:solidFill>
              </a:rPr>
              <a:t>Outcomes</a:t>
            </a:r>
          </a:p>
        </p:txBody>
      </p:sp>
    </p:spTree>
    <p:extLst>
      <p:ext uri="{BB962C8B-B14F-4D97-AF65-F5344CB8AC3E}">
        <p14:creationId xmlns:p14="http://schemas.microsoft.com/office/powerpoint/2010/main" val="14168378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Reminder: Objectives &amp; methodology for our case study</a:t>
            </a:r>
            <a:endParaRPr lang="en-US" sz="280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EF5FF5C-F579-4CC6-9A60-9F64DD08E876}"/>
              </a:ext>
            </a:extLst>
          </p:cNvPr>
          <p:cNvSpPr txBox="1">
            <a:spLocks/>
          </p:cNvSpPr>
          <p:nvPr/>
        </p:nvSpPr>
        <p:spPr bwMode="auto">
          <a:xfrm>
            <a:off x="1778409" y="457200"/>
            <a:ext cx="9432959" cy="100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rIns="0" anchor="ctr"/>
          <a:lstStyle/>
          <a:p>
            <a:endParaRPr lang="fr-FR" sz="2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54C7B1-E889-4826-A9AA-5E8A46491CF9}"/>
              </a:ext>
            </a:extLst>
          </p:cNvPr>
          <p:cNvSpPr txBox="1"/>
          <p:nvPr/>
        </p:nvSpPr>
        <p:spPr bwMode="auto">
          <a:xfrm>
            <a:off x="1461883" y="1509936"/>
            <a:ext cx="926823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</a:rPr>
              <a:t>Identification of the themes and priorities per location to make Center Parcs a favorite holiday place in Europ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9C4E3DD-2FE9-4D69-935E-5F0EB25D8382}"/>
              </a:ext>
            </a:extLst>
          </p:cNvPr>
          <p:cNvCxnSpPr/>
          <p:nvPr/>
        </p:nvCxnSpPr>
        <p:spPr>
          <a:xfrm>
            <a:off x="2129539" y="2270621"/>
            <a:ext cx="7932922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1461882" y="2831173"/>
            <a:ext cx="9268236" cy="3441014"/>
            <a:chOff x="1786176" y="2831173"/>
            <a:chExt cx="9268236" cy="344101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1AD05F0-D4B9-43B3-BD94-05B50F565DE2}"/>
                </a:ext>
              </a:extLst>
            </p:cNvPr>
            <p:cNvSpPr/>
            <p:nvPr/>
          </p:nvSpPr>
          <p:spPr>
            <a:xfrm>
              <a:off x="6420294" y="4686081"/>
              <a:ext cx="4634118" cy="158449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0" rIns="360000" rtlCol="0" anchor="ctr"/>
            <a:lstStyle/>
            <a:p>
              <a:pPr marL="342900" indent="-342900">
                <a:buAutoNum type="arabicPeriod"/>
              </a:pPr>
              <a:r>
                <a:rPr lang="en-US" b="1">
                  <a:solidFill>
                    <a:schemeClr val="tx1"/>
                  </a:solidFill>
                  <a:cs typeface="Calibri" pitchFamily="34" charset="0"/>
                </a:rPr>
                <a:t>Scraping</a:t>
              </a:r>
            </a:p>
            <a:p>
              <a:pPr marL="342900" indent="-342900">
                <a:buFontTx/>
                <a:buAutoNum type="arabicPeriod"/>
              </a:pPr>
              <a:r>
                <a:rPr lang="en-US" sz="1600">
                  <a:solidFill>
                    <a:schemeClr val="tx1"/>
                  </a:solidFill>
                  <a:cs typeface="Calibri" pitchFamily="34" charset="0"/>
                </a:rPr>
                <a:t>Cleansing &amp; feature engineering</a:t>
              </a:r>
            </a:p>
            <a:p>
              <a:pPr marL="342900" indent="-342900">
                <a:buFontTx/>
                <a:buAutoNum type="arabicPeriod"/>
              </a:pPr>
              <a:r>
                <a:rPr lang="en-US" sz="1600">
                  <a:solidFill>
                    <a:schemeClr val="tx1"/>
                  </a:solidFill>
                  <a:cs typeface="Calibri" pitchFamily="34" charset="0"/>
                </a:rPr>
                <a:t>Data analysis</a:t>
              </a:r>
            </a:p>
            <a:p>
              <a:pPr marL="342900" indent="-342900">
                <a:buFontTx/>
                <a:buAutoNum type="arabicPeriod"/>
              </a:pPr>
              <a:r>
                <a:rPr lang="en-US" sz="1600">
                  <a:solidFill>
                    <a:schemeClr val="tx1"/>
                  </a:solidFill>
                  <a:cs typeface="Calibri" pitchFamily="34" charset="0"/>
                </a:rPr>
                <a:t>Creating the final deliverable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DD03177-8C00-4910-BE9D-2DAADA9DD4AA}"/>
                </a:ext>
              </a:extLst>
            </p:cNvPr>
            <p:cNvSpPr/>
            <p:nvPr/>
          </p:nvSpPr>
          <p:spPr>
            <a:xfrm>
              <a:off x="1786177" y="4686081"/>
              <a:ext cx="4634117" cy="1586106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360000" tIns="36000" rIns="360000" bIns="36000" anchor="ctr">
              <a:noAutofit/>
            </a:bodyPr>
            <a:lstStyle/>
            <a:p>
              <a:pPr>
                <a:spcBef>
                  <a:spcPts val="4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defRPr/>
              </a:pPr>
              <a:r>
                <a:rPr lang="en-US" sz="1600">
                  <a:solidFill>
                    <a:srgbClr val="000000"/>
                  </a:solidFill>
                </a:rPr>
                <a:t>Use data science to identify the </a:t>
              </a:r>
              <a:r>
                <a:rPr lang="en-US" sz="1600" b="1">
                  <a:solidFill>
                    <a:srgbClr val="000000"/>
                  </a:solidFill>
                </a:rPr>
                <a:t>priorities to improve Center Parcs places</a:t>
              </a:r>
              <a:r>
                <a:rPr lang="en-US" sz="1600">
                  <a:solidFill>
                    <a:srgbClr val="000000"/>
                  </a:solidFill>
                </a:rPr>
                <a:t>, from reviews on the Web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434F6CD-12A7-4BCC-9703-9C40339A4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85874" y="2831173"/>
              <a:ext cx="1440000" cy="144000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A6A7BD0-58B0-48D9-AA5E-4D444E0F8AAD}"/>
                </a:ext>
              </a:extLst>
            </p:cNvPr>
            <p:cNvSpPr/>
            <p:nvPr/>
          </p:nvSpPr>
          <p:spPr>
            <a:xfrm>
              <a:off x="1786176" y="4326081"/>
              <a:ext cx="4634118" cy="360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>
                  <a:solidFill>
                    <a:schemeClr val="accent2"/>
                  </a:solidFill>
                  <a:ea typeface="Calibri" pitchFamily="34" charset="0"/>
                  <a:cs typeface="Calibri" pitchFamily="34" charset="0"/>
                </a:rPr>
                <a:t>Objectiv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C1991E0-900B-4339-81CF-E6F7BD158AED}"/>
                </a:ext>
              </a:extLst>
            </p:cNvPr>
            <p:cNvSpPr/>
            <p:nvPr/>
          </p:nvSpPr>
          <p:spPr>
            <a:xfrm>
              <a:off x="6420294" y="4326081"/>
              <a:ext cx="4634118" cy="360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b="1">
                  <a:solidFill>
                    <a:schemeClr val="accent2"/>
                  </a:solidFill>
                  <a:ea typeface="Calibri" pitchFamily="34" charset="0"/>
                  <a:cs typeface="Calibri" pitchFamily="34" charset="0"/>
                </a:rPr>
                <a:t>Next </a:t>
              </a:r>
              <a:r>
                <a:rPr lang="fr-FR" sz="1600" b="1" err="1">
                  <a:solidFill>
                    <a:schemeClr val="accent2"/>
                  </a:solidFill>
                  <a:ea typeface="Calibri" pitchFamily="34" charset="0"/>
                  <a:cs typeface="Calibri" pitchFamily="34" charset="0"/>
                </a:rPr>
                <a:t>Steps</a:t>
              </a:r>
              <a:endParaRPr lang="fr-FR" sz="1600" b="1">
                <a:solidFill>
                  <a:schemeClr val="accent2"/>
                </a:solidFill>
                <a:ea typeface="Calibri" pitchFamily="34" charset="0"/>
                <a:cs typeface="Calibri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F466F0-738E-4905-9010-1EDBAC9F69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88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17353" y="2831173"/>
              <a:ext cx="1440000" cy="1440000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060669B-8329-4C22-8E1E-9B1CC3B3DA72}"/>
                </a:ext>
              </a:extLst>
            </p:cNvPr>
            <p:cNvCxnSpPr/>
            <p:nvPr/>
          </p:nvCxnSpPr>
          <p:spPr>
            <a:xfrm>
              <a:off x="2051007" y="4780923"/>
              <a:ext cx="4104456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59CB4B0-0176-4E4A-90E7-E1480A085736}"/>
                </a:ext>
              </a:extLst>
            </p:cNvPr>
            <p:cNvCxnSpPr/>
            <p:nvPr/>
          </p:nvCxnSpPr>
          <p:spPr>
            <a:xfrm>
              <a:off x="6685125" y="4780923"/>
              <a:ext cx="4104456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202173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/>
              <a:t>Examples of business decisions</a:t>
            </a:r>
          </a:p>
        </p:txBody>
      </p:sp>
      <p:sp>
        <p:nvSpPr>
          <p:cNvPr id="4" name="Oval 3"/>
          <p:cNvSpPr/>
          <p:nvPr/>
        </p:nvSpPr>
        <p:spPr>
          <a:xfrm>
            <a:off x="2143431" y="1523998"/>
            <a:ext cx="720000" cy="7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2143431" y="3526699"/>
            <a:ext cx="720000" cy="7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2143431" y="5524355"/>
            <a:ext cx="720000" cy="7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281651" y="2472107"/>
            <a:ext cx="720000" cy="7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9281651" y="4522268"/>
            <a:ext cx="720000" cy="7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ular Callout 8"/>
          <p:cNvSpPr/>
          <p:nvPr/>
        </p:nvSpPr>
        <p:spPr>
          <a:xfrm>
            <a:off x="3165988" y="1257402"/>
            <a:ext cx="3342967" cy="840238"/>
          </a:xfrm>
          <a:prstGeom prst="wedgeRoundRectCallout">
            <a:avLst>
              <a:gd name="adj1" fmla="val -58907"/>
              <a:gd name="adj2" fmla="val 22933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Attribute the optimal price for my product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3165988" y="3312345"/>
            <a:ext cx="3342967" cy="840238"/>
          </a:xfrm>
          <a:prstGeom prst="wedgeRoundRectCallout">
            <a:avLst>
              <a:gd name="adj1" fmla="val -58907"/>
              <a:gd name="adj2" fmla="val 22933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Select which recommendation to send to which customer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3165988" y="5319122"/>
            <a:ext cx="3342967" cy="840238"/>
          </a:xfrm>
          <a:prstGeom prst="wedgeRoundRectCallout">
            <a:avLst>
              <a:gd name="adj1" fmla="val -58907"/>
              <a:gd name="adj2" fmla="val 22933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Determine which quantity of raw materials to buy, at which cost</a:t>
            </a:r>
          </a:p>
        </p:txBody>
      </p:sp>
      <p:sp>
        <p:nvSpPr>
          <p:cNvPr id="12" name="Rounded Rectangular Callout 11"/>
          <p:cNvSpPr/>
          <p:nvPr/>
        </p:nvSpPr>
        <p:spPr>
          <a:xfrm>
            <a:off x="5610728" y="2266465"/>
            <a:ext cx="3342967" cy="840238"/>
          </a:xfrm>
          <a:prstGeom prst="wedgeRoundRectCallout">
            <a:avLst>
              <a:gd name="adj1" fmla="val 59622"/>
              <a:gd name="adj2" fmla="val 21763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Select which prospects to target in priority</a:t>
            </a:r>
          </a:p>
        </p:txBody>
      </p:sp>
      <p:sp>
        <p:nvSpPr>
          <p:cNvPr id="14" name="Rounded Rectangular Callout 13"/>
          <p:cNvSpPr/>
          <p:nvPr/>
        </p:nvSpPr>
        <p:spPr>
          <a:xfrm>
            <a:off x="5610728" y="4325745"/>
            <a:ext cx="3342967" cy="840238"/>
          </a:xfrm>
          <a:prstGeom prst="wedgeRoundRectCallout">
            <a:avLst>
              <a:gd name="adj1" fmla="val 59622"/>
              <a:gd name="adj2" fmla="val 21763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Define my maintenance &amp; replacement plans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037"/>
          <a:stretch/>
        </p:blipFill>
        <p:spPr>
          <a:xfrm>
            <a:off x="9388920" y="4662486"/>
            <a:ext cx="505462" cy="43956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037"/>
          <a:stretch/>
        </p:blipFill>
        <p:spPr>
          <a:xfrm>
            <a:off x="2197431" y="5618249"/>
            <a:ext cx="612000" cy="53221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222"/>
          <a:stretch/>
        </p:blipFill>
        <p:spPr>
          <a:xfrm>
            <a:off x="2217778" y="3604263"/>
            <a:ext cx="645653" cy="5280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89"/>
          <a:stretch/>
        </p:blipFill>
        <p:spPr>
          <a:xfrm>
            <a:off x="9404526" y="2622136"/>
            <a:ext cx="489857" cy="42672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89" b="18666"/>
          <a:stretch/>
        </p:blipFill>
        <p:spPr>
          <a:xfrm>
            <a:off x="2166180" y="1612936"/>
            <a:ext cx="674503" cy="51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7564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Object 8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0" name="Object 8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1897626" y="3880752"/>
            <a:ext cx="8327922" cy="972000"/>
          </a:xfrm>
          <a:prstGeom prst="round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932" y="134938"/>
            <a:ext cx="8647112" cy="715962"/>
          </a:xfrm>
        </p:spPr>
        <p:txBody>
          <a:bodyPr>
            <a:normAutofit/>
          </a:bodyPr>
          <a:lstStyle/>
          <a:p>
            <a:r>
              <a:rPr lang="en-US" sz="3600"/>
              <a:t>Examples of application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984500" y="1189703"/>
            <a:ext cx="7020000" cy="5083278"/>
            <a:chOff x="1460500" y="1193800"/>
            <a:chExt cx="7010400" cy="4978400"/>
          </a:xfrm>
          <a:noFill/>
        </p:grpSpPr>
        <p:sp>
          <p:nvSpPr>
            <p:cNvPr id="4" name="Rectangle 3"/>
            <p:cNvSpPr/>
            <p:nvPr/>
          </p:nvSpPr>
          <p:spPr>
            <a:xfrm>
              <a:off x="1460500" y="2438400"/>
              <a:ext cx="7010400" cy="1244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b="1">
                  <a:solidFill>
                    <a:schemeClr val="bg2"/>
                  </a:solidFill>
                </a:rPr>
                <a:t>Consumer insights</a:t>
              </a:r>
              <a:r>
                <a:rPr lang="en-US">
                  <a:solidFill>
                    <a:schemeClr val="bg2"/>
                  </a:solidFill>
                </a:rPr>
                <a:t> (Marketing teams)</a:t>
              </a:r>
              <a:br>
                <a:rPr lang="en-US" b="1">
                  <a:solidFill>
                    <a:schemeClr val="bg2"/>
                  </a:solidFill>
                </a:rPr>
              </a:br>
              <a:r>
                <a:rPr lang="en-US"/>
                <a:t>Select which products &amp; services to propose, based on a better understanding of consumers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1460500" y="1193800"/>
              <a:ext cx="7010400" cy="1244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b="1">
                  <a:solidFill>
                    <a:schemeClr val="bg2"/>
                  </a:solidFill>
                </a:rPr>
                <a:t>Competition monitoring</a:t>
              </a:r>
              <a:r>
                <a:rPr lang="en-US">
                  <a:solidFill>
                    <a:schemeClr val="bg2"/>
                  </a:solidFill>
                </a:rPr>
                <a:t> (Strategy &amp; Marketing teams)</a:t>
              </a:r>
              <a:br>
                <a:rPr lang="en-US" b="1">
                  <a:solidFill>
                    <a:schemeClr val="bg2"/>
                  </a:solidFill>
                </a:rPr>
              </a:br>
              <a:r>
                <a:rPr lang="en-US"/>
                <a:t>Determine strategic moves based on the analysis of product defaults for the company and its competitor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460500" y="3683000"/>
              <a:ext cx="7010400" cy="1244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b="1">
                  <a:solidFill>
                    <a:schemeClr val="bg2"/>
                  </a:solidFill>
                </a:rPr>
                <a:t>Aftersales optimization</a:t>
              </a:r>
              <a:r>
                <a:rPr lang="en-US">
                  <a:solidFill>
                    <a:schemeClr val="bg2"/>
                  </a:solidFill>
                </a:rPr>
                <a:t> (Marketing &amp; aftersales teams)</a:t>
              </a:r>
              <a:br>
                <a:rPr lang="en-US" b="1">
                  <a:solidFill>
                    <a:schemeClr val="bg2"/>
                  </a:solidFill>
                </a:rPr>
              </a:br>
              <a:r>
                <a:rPr lang="en-US"/>
                <a:t>Select automated and pro-active care actions to put in place, in order to resolve customer issues efficiently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460500" y="4927600"/>
              <a:ext cx="7010400" cy="1244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b="1">
                  <a:solidFill>
                    <a:schemeClr val="bg2"/>
                  </a:solidFill>
                </a:rPr>
                <a:t>Product development</a:t>
              </a:r>
              <a:r>
                <a:rPr lang="en-US">
                  <a:solidFill>
                    <a:schemeClr val="bg2"/>
                  </a:solidFill>
                </a:rPr>
                <a:t> (Product development &amp; technical teams)</a:t>
              </a:r>
              <a:br>
                <a:rPr lang="en-US" b="1">
                  <a:solidFill>
                    <a:schemeClr val="bg2"/>
                  </a:solidFill>
                </a:rPr>
              </a:br>
              <a:r>
                <a:rPr lang="en-US"/>
                <a:t>Determine the critical features for the next generation of products, based by understanding of consumer pain points &amp; expectation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006600" y="1465113"/>
            <a:ext cx="720000" cy="720000"/>
            <a:chOff x="482600" y="2002732"/>
            <a:chExt cx="720000" cy="720000"/>
          </a:xfrm>
        </p:grpSpPr>
        <p:sp>
          <p:nvSpPr>
            <p:cNvPr id="6" name="Oval 5"/>
            <p:cNvSpPr/>
            <p:nvPr/>
          </p:nvSpPr>
          <p:spPr>
            <a:xfrm>
              <a:off x="482600" y="2002732"/>
              <a:ext cx="720000" cy="720000"/>
            </a:xfrm>
            <a:prstGeom prst="ellips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6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800" y="2068232"/>
              <a:ext cx="609600" cy="609600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2006600" y="2735933"/>
            <a:ext cx="720000" cy="720000"/>
            <a:chOff x="482600" y="2974732"/>
            <a:chExt cx="720000" cy="720000"/>
          </a:xfrm>
        </p:grpSpPr>
        <p:sp>
          <p:nvSpPr>
            <p:cNvPr id="14" name="Oval 13"/>
            <p:cNvSpPr/>
            <p:nvPr/>
          </p:nvSpPr>
          <p:spPr>
            <a:xfrm>
              <a:off x="482600" y="2974732"/>
              <a:ext cx="720000" cy="720000"/>
            </a:xfrm>
            <a:prstGeom prst="ellips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0950" y="3023082"/>
              <a:ext cx="623300" cy="623300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2006600" y="5277572"/>
            <a:ext cx="720000" cy="720000"/>
            <a:chOff x="482600" y="4918732"/>
            <a:chExt cx="720000" cy="720000"/>
          </a:xfrm>
        </p:grpSpPr>
        <p:sp>
          <p:nvSpPr>
            <p:cNvPr id="16" name="Oval 15"/>
            <p:cNvSpPr/>
            <p:nvPr/>
          </p:nvSpPr>
          <p:spPr>
            <a:xfrm>
              <a:off x="482600" y="4918732"/>
              <a:ext cx="720000" cy="720000"/>
            </a:xfrm>
            <a:prstGeom prst="ellips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8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600" y="4990732"/>
              <a:ext cx="576000" cy="57600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2006600" y="4006752"/>
            <a:ext cx="720000" cy="720000"/>
            <a:chOff x="482600" y="3946732"/>
            <a:chExt cx="720000" cy="720000"/>
          </a:xfrm>
        </p:grpSpPr>
        <p:sp>
          <p:nvSpPr>
            <p:cNvPr id="15" name="Oval 14"/>
            <p:cNvSpPr/>
            <p:nvPr/>
          </p:nvSpPr>
          <p:spPr>
            <a:xfrm>
              <a:off x="482600" y="3946732"/>
              <a:ext cx="720000" cy="720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519"/>
            <a:stretch/>
          </p:blipFill>
          <p:spPr>
            <a:xfrm>
              <a:off x="560164" y="4042521"/>
              <a:ext cx="564873" cy="4885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6130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Isosceles Triangle 43"/>
          <p:cNvSpPr/>
          <p:nvPr/>
        </p:nvSpPr>
        <p:spPr>
          <a:xfrm>
            <a:off x="6521596" y="5465487"/>
            <a:ext cx="216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/>
              <a:t>Methodology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368550" y="1464216"/>
            <a:ext cx="7454900" cy="4203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Typical approach of a data project</a:t>
            </a:r>
          </a:p>
        </p:txBody>
      </p:sp>
      <p:sp>
        <p:nvSpPr>
          <p:cNvPr id="9" name="Pentagon 8"/>
          <p:cNvSpPr/>
          <p:nvPr/>
        </p:nvSpPr>
        <p:spPr bwMode="auto">
          <a:xfrm>
            <a:off x="1881745" y="3503244"/>
            <a:ext cx="4761946" cy="398540"/>
          </a:xfrm>
          <a:prstGeom prst="homePlate">
            <a:avLst>
              <a:gd name="adj" fmla="val 24604"/>
            </a:avLst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</a:rPr>
              <a:t>Understanding of the current situation</a:t>
            </a:r>
            <a:r>
              <a:rPr kumimoji="0" lang="en-US" sz="1200" b="1" i="0" u="none" strike="noStrike" cap="none" normalizeH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</a:rPr>
              <a:t> </a:t>
            </a:r>
            <a:r>
              <a:rPr kumimoji="0" lang="en-US" sz="1200" i="0" u="none" strike="noStrike" cap="none" normalizeH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</a:rPr>
              <a:t>(organization, technology etc.)</a:t>
            </a:r>
            <a:endParaRPr kumimoji="0" lang="en-US" sz="1200" i="0" u="none" strike="noStrike" cap="none" normalizeH="0" baseline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96851" y="1970219"/>
            <a:ext cx="1369059" cy="13887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r>
              <a:rPr lang="en-US" sz="1400" b="1">
                <a:solidFill>
                  <a:schemeClr val="tx2"/>
                </a:solidFill>
                <a:cs typeface="Calibri" pitchFamily="34" charset="0"/>
              </a:rPr>
              <a:t>Data scienc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96851" y="3358943"/>
            <a:ext cx="1369059" cy="180506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r>
              <a:rPr lang="en-US" sz="1400" b="1">
                <a:solidFill>
                  <a:schemeClr val="tx2"/>
                </a:solidFill>
                <a:cs typeface="Calibri" pitchFamily="34" charset="0"/>
              </a:rPr>
              <a:t>Business</a:t>
            </a:r>
            <a:endParaRPr lang="en-US" sz="1400">
              <a:solidFill>
                <a:schemeClr val="tx2"/>
              </a:solidFill>
              <a:cs typeface="Calibri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6851" y="5164010"/>
            <a:ext cx="1369059" cy="787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r>
              <a:rPr lang="en-US" sz="1400" b="1">
                <a:solidFill>
                  <a:schemeClr val="tx2"/>
                </a:solidFill>
                <a:cs typeface="Calibri" pitchFamily="34" charset="0"/>
              </a:rPr>
              <a:t>Gouvernanc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396851" y="3358944"/>
            <a:ext cx="1090124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96851" y="5164012"/>
            <a:ext cx="1090124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entagon 14"/>
          <p:cNvSpPr/>
          <p:nvPr/>
        </p:nvSpPr>
        <p:spPr bwMode="auto">
          <a:xfrm>
            <a:off x="1881745" y="1970220"/>
            <a:ext cx="3826523" cy="398540"/>
          </a:xfrm>
          <a:prstGeom prst="homePlate">
            <a:avLst>
              <a:gd name="adj" fmla="val 24604"/>
            </a:avLst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</a:rPr>
              <a:t>Building &amp; review of the analysis plan</a:t>
            </a:r>
          </a:p>
        </p:txBody>
      </p:sp>
      <p:sp>
        <p:nvSpPr>
          <p:cNvPr id="17" name="Pentagon 16"/>
          <p:cNvSpPr/>
          <p:nvPr/>
        </p:nvSpPr>
        <p:spPr bwMode="auto">
          <a:xfrm>
            <a:off x="2384928" y="2440397"/>
            <a:ext cx="4258762" cy="398540"/>
          </a:xfrm>
          <a:prstGeom prst="homePlate">
            <a:avLst>
              <a:gd name="adj" fmla="val 22185"/>
            </a:avLst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</a:rPr>
              <a:t>Data collection</a:t>
            </a:r>
          </a:p>
        </p:txBody>
      </p:sp>
      <p:sp>
        <p:nvSpPr>
          <p:cNvPr id="18" name="Pentagon 17"/>
          <p:cNvSpPr/>
          <p:nvPr/>
        </p:nvSpPr>
        <p:spPr bwMode="auto">
          <a:xfrm>
            <a:off x="5824102" y="1970220"/>
            <a:ext cx="4617619" cy="398540"/>
          </a:xfrm>
          <a:prstGeom prst="homePlate">
            <a:avLst>
              <a:gd name="adj" fmla="val 24604"/>
            </a:avLst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</a:rPr>
              <a:t>Iterati</a:t>
            </a:r>
            <a:r>
              <a:rPr lang="en-US" sz="1200" b="1">
                <a:solidFill>
                  <a:schemeClr val="tx2">
                    <a:lumMod val="50000"/>
                  </a:schemeClr>
                </a:solidFill>
              </a:rPr>
              <a:t>ve running of the analyses</a:t>
            </a:r>
            <a:endParaRPr kumimoji="0" lang="en-US" sz="1200" b="1" i="0" u="none" strike="noStrike" cap="none" normalizeH="0" baseline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</a:endParaRPr>
          </a:p>
        </p:txBody>
      </p:sp>
      <p:sp>
        <p:nvSpPr>
          <p:cNvPr id="19" name="Pentagon 18"/>
          <p:cNvSpPr/>
          <p:nvPr/>
        </p:nvSpPr>
        <p:spPr bwMode="auto">
          <a:xfrm>
            <a:off x="7548231" y="2828611"/>
            <a:ext cx="3228147" cy="398540"/>
          </a:xfrm>
          <a:prstGeom prst="homePlate">
            <a:avLst>
              <a:gd name="adj" fmla="val 22185"/>
            </a:avLst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</a:rPr>
              <a:t>Building of deliverable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00" b="20600"/>
          <a:stretch/>
        </p:blipFill>
        <p:spPr>
          <a:xfrm>
            <a:off x="10795191" y="2868056"/>
            <a:ext cx="396000" cy="291060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4702076" y="3227151"/>
            <a:ext cx="375322" cy="323792"/>
            <a:chOff x="3363672" y="2698555"/>
            <a:chExt cx="350610" cy="350976"/>
          </a:xfrm>
          <a:solidFill>
            <a:schemeClr val="accent3"/>
          </a:solidFill>
        </p:grpSpPr>
        <p:sp>
          <p:nvSpPr>
            <p:cNvPr id="25" name="Curved Right Arrow 24"/>
            <p:cNvSpPr/>
            <p:nvPr/>
          </p:nvSpPr>
          <p:spPr bwMode="auto">
            <a:xfrm>
              <a:off x="3363672" y="271538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6" name="Curved Right Arrow 25"/>
            <p:cNvSpPr/>
            <p:nvPr/>
          </p:nvSpPr>
          <p:spPr bwMode="auto">
            <a:xfrm rot="10800000">
              <a:off x="3552282" y="269855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442555" y="3227151"/>
            <a:ext cx="375322" cy="323792"/>
            <a:chOff x="3363672" y="2698555"/>
            <a:chExt cx="350610" cy="350976"/>
          </a:xfrm>
          <a:solidFill>
            <a:schemeClr val="accent3"/>
          </a:solidFill>
        </p:grpSpPr>
        <p:sp>
          <p:nvSpPr>
            <p:cNvPr id="28" name="Curved Right Arrow 27"/>
            <p:cNvSpPr/>
            <p:nvPr/>
          </p:nvSpPr>
          <p:spPr bwMode="auto">
            <a:xfrm>
              <a:off x="3363672" y="271538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9" name="Curved Right Arrow 28"/>
            <p:cNvSpPr/>
            <p:nvPr/>
          </p:nvSpPr>
          <p:spPr bwMode="auto">
            <a:xfrm rot="10800000">
              <a:off x="3552282" y="269855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2183036" y="3227151"/>
            <a:ext cx="375322" cy="323792"/>
            <a:chOff x="3363672" y="2698555"/>
            <a:chExt cx="350610" cy="350976"/>
          </a:xfrm>
          <a:solidFill>
            <a:schemeClr val="accent3"/>
          </a:solidFill>
        </p:grpSpPr>
        <p:sp>
          <p:nvSpPr>
            <p:cNvPr id="31" name="Curved Right Arrow 30"/>
            <p:cNvSpPr/>
            <p:nvPr/>
          </p:nvSpPr>
          <p:spPr bwMode="auto">
            <a:xfrm>
              <a:off x="3363672" y="271538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32" name="Curved Right Arrow 31"/>
            <p:cNvSpPr/>
            <p:nvPr/>
          </p:nvSpPr>
          <p:spPr bwMode="auto">
            <a:xfrm rot="10800000">
              <a:off x="3552282" y="269855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sp>
        <p:nvSpPr>
          <p:cNvPr id="33" name="Isosceles Triangle 32"/>
          <p:cNvSpPr/>
          <p:nvPr/>
        </p:nvSpPr>
        <p:spPr>
          <a:xfrm>
            <a:off x="2042621" y="5465487"/>
            <a:ext cx="216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34" name="Diamond 33"/>
          <p:cNvSpPr/>
          <p:nvPr/>
        </p:nvSpPr>
        <p:spPr>
          <a:xfrm>
            <a:off x="2938416" y="5465487"/>
            <a:ext cx="216000" cy="216000"/>
          </a:xfrm>
          <a:prstGeom prst="diamon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35" name="Diamond 34"/>
          <p:cNvSpPr/>
          <p:nvPr/>
        </p:nvSpPr>
        <p:spPr>
          <a:xfrm>
            <a:off x="3834211" y="5465487"/>
            <a:ext cx="216000" cy="216000"/>
          </a:xfrm>
          <a:prstGeom prst="diamon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37" name="Diamond 36"/>
          <p:cNvSpPr/>
          <p:nvPr/>
        </p:nvSpPr>
        <p:spPr>
          <a:xfrm>
            <a:off x="4730006" y="5465487"/>
            <a:ext cx="216000" cy="216000"/>
          </a:xfrm>
          <a:prstGeom prst="diamon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38" name="Diamond 37"/>
          <p:cNvSpPr/>
          <p:nvPr/>
        </p:nvSpPr>
        <p:spPr>
          <a:xfrm>
            <a:off x="5625801" y="5465487"/>
            <a:ext cx="216000" cy="216000"/>
          </a:xfrm>
          <a:prstGeom prst="diamon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39" name="Diamond 38"/>
          <p:cNvSpPr/>
          <p:nvPr/>
        </p:nvSpPr>
        <p:spPr>
          <a:xfrm>
            <a:off x="8313186" y="5465487"/>
            <a:ext cx="216000" cy="216000"/>
          </a:xfrm>
          <a:prstGeom prst="diamon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40" name="Diamond 39"/>
          <p:cNvSpPr/>
          <p:nvPr/>
        </p:nvSpPr>
        <p:spPr>
          <a:xfrm>
            <a:off x="7417391" y="5465487"/>
            <a:ext cx="216000" cy="216000"/>
          </a:xfrm>
          <a:prstGeom prst="diamon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41" name="Diamond 40"/>
          <p:cNvSpPr/>
          <p:nvPr/>
        </p:nvSpPr>
        <p:spPr>
          <a:xfrm>
            <a:off x="9208981" y="5465487"/>
            <a:ext cx="216000" cy="216000"/>
          </a:xfrm>
          <a:prstGeom prst="diamon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42" name="Diamond 41"/>
          <p:cNvSpPr/>
          <p:nvPr/>
        </p:nvSpPr>
        <p:spPr>
          <a:xfrm>
            <a:off x="10104776" y="5465487"/>
            <a:ext cx="216000" cy="216000"/>
          </a:xfrm>
          <a:prstGeom prst="diamon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45" name="Isosceles Triangle 44"/>
          <p:cNvSpPr/>
          <p:nvPr/>
        </p:nvSpPr>
        <p:spPr>
          <a:xfrm>
            <a:off x="11000568" y="5465487"/>
            <a:ext cx="216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56" name="Pentagon 55"/>
          <p:cNvSpPr/>
          <p:nvPr/>
        </p:nvSpPr>
        <p:spPr bwMode="auto">
          <a:xfrm>
            <a:off x="6274522" y="4059108"/>
            <a:ext cx="3338711" cy="398540"/>
          </a:xfrm>
          <a:prstGeom prst="homePlate">
            <a:avLst>
              <a:gd name="adj" fmla="val 24604"/>
            </a:avLst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</a:rPr>
              <a:t>Alignment on </a:t>
            </a:r>
            <a:r>
              <a:rPr lang="en-US" sz="1200" b="1">
                <a:solidFill>
                  <a:schemeClr val="tx2">
                    <a:lumMod val="50000"/>
                  </a:schemeClr>
                </a:solidFill>
              </a:rPr>
              <a:t>an industrialization scenario &amp; plan</a:t>
            </a:r>
            <a:endParaRPr kumimoji="0" lang="en-US" sz="1200" i="0" u="none" strike="noStrike" cap="none" normalizeH="0" baseline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4702076" y="2249423"/>
            <a:ext cx="375322" cy="323792"/>
            <a:chOff x="3363672" y="2698555"/>
            <a:chExt cx="350610" cy="350976"/>
          </a:xfrm>
          <a:solidFill>
            <a:schemeClr val="accent3"/>
          </a:solidFill>
        </p:grpSpPr>
        <p:sp>
          <p:nvSpPr>
            <p:cNvPr id="58" name="Curved Right Arrow 57"/>
            <p:cNvSpPr/>
            <p:nvPr/>
          </p:nvSpPr>
          <p:spPr bwMode="auto">
            <a:xfrm>
              <a:off x="3363672" y="271538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59" name="Curved Right Arrow 58"/>
            <p:cNvSpPr/>
            <p:nvPr/>
          </p:nvSpPr>
          <p:spPr bwMode="auto">
            <a:xfrm rot="10800000">
              <a:off x="3552282" y="269855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3442555" y="2249423"/>
            <a:ext cx="375322" cy="323792"/>
            <a:chOff x="3363672" y="2698555"/>
            <a:chExt cx="350610" cy="350976"/>
          </a:xfrm>
          <a:solidFill>
            <a:schemeClr val="accent3"/>
          </a:solidFill>
        </p:grpSpPr>
        <p:sp>
          <p:nvSpPr>
            <p:cNvPr id="61" name="Curved Right Arrow 60"/>
            <p:cNvSpPr/>
            <p:nvPr/>
          </p:nvSpPr>
          <p:spPr bwMode="auto">
            <a:xfrm>
              <a:off x="3363672" y="271538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2" name="Curved Right Arrow 61"/>
            <p:cNvSpPr/>
            <p:nvPr/>
          </p:nvSpPr>
          <p:spPr bwMode="auto">
            <a:xfrm rot="10800000">
              <a:off x="3552282" y="269855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2183036" y="2249423"/>
            <a:ext cx="375322" cy="323792"/>
            <a:chOff x="3363672" y="2698555"/>
            <a:chExt cx="350610" cy="350976"/>
          </a:xfrm>
          <a:solidFill>
            <a:schemeClr val="accent3"/>
          </a:solidFill>
        </p:grpSpPr>
        <p:sp>
          <p:nvSpPr>
            <p:cNvPr id="64" name="Curved Right Arrow 63"/>
            <p:cNvSpPr/>
            <p:nvPr/>
          </p:nvSpPr>
          <p:spPr bwMode="auto">
            <a:xfrm>
              <a:off x="3363672" y="271538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5" name="Curved Right Arrow 64"/>
            <p:cNvSpPr/>
            <p:nvPr/>
          </p:nvSpPr>
          <p:spPr bwMode="auto">
            <a:xfrm rot="10800000">
              <a:off x="3552282" y="2698555"/>
              <a:ext cx="162000" cy="334146"/>
            </a:xfrm>
            <a:prstGeom prst="curvedRightArrow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sp>
        <p:nvSpPr>
          <p:cNvPr id="66" name="Pentagon 65"/>
          <p:cNvSpPr/>
          <p:nvPr/>
        </p:nvSpPr>
        <p:spPr bwMode="auto">
          <a:xfrm>
            <a:off x="7877857" y="4557407"/>
            <a:ext cx="3338711" cy="398540"/>
          </a:xfrm>
          <a:prstGeom prst="homePlate">
            <a:avLst>
              <a:gd name="adj" fmla="val 24604"/>
            </a:avLst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</a:rPr>
              <a:t>Business case</a:t>
            </a:r>
            <a:endParaRPr kumimoji="0" lang="en-US" sz="1200" i="0" u="none" strike="noStrike" cap="none" normalizeH="0" baseline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00" b="20600"/>
          <a:stretch/>
        </p:blipFill>
        <p:spPr>
          <a:xfrm>
            <a:off x="11245828" y="4611553"/>
            <a:ext cx="396000" cy="291056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00" b="20600"/>
          <a:stretch/>
        </p:blipFill>
        <p:spPr>
          <a:xfrm>
            <a:off x="9597597" y="4129454"/>
            <a:ext cx="396000" cy="291056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2673333" y="6093023"/>
            <a:ext cx="6845334" cy="608861"/>
            <a:chOff x="2231134" y="6159931"/>
            <a:chExt cx="6845334" cy="608861"/>
          </a:xfrm>
        </p:grpSpPr>
        <p:sp>
          <p:nvSpPr>
            <p:cNvPr id="23" name="Rectangle 22"/>
            <p:cNvSpPr/>
            <p:nvPr/>
          </p:nvSpPr>
          <p:spPr>
            <a:xfrm>
              <a:off x="2231134" y="6159931"/>
              <a:ext cx="6845334" cy="6088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2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itchFamily="34" charset="0"/>
                </a:rPr>
                <a:t>Legend:</a:t>
              </a:r>
            </a:p>
          </p:txBody>
        </p:sp>
        <p:sp>
          <p:nvSpPr>
            <p:cNvPr id="46" name="Isosceles Triangle 45"/>
            <p:cNvSpPr/>
            <p:nvPr/>
          </p:nvSpPr>
          <p:spPr>
            <a:xfrm>
              <a:off x="4942151" y="6418930"/>
              <a:ext cx="216000" cy="216000"/>
            </a:xfrm>
            <a:prstGeom prst="triangl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endParaRPr>
            </a:p>
          </p:txBody>
        </p:sp>
        <p:sp>
          <p:nvSpPr>
            <p:cNvPr id="47" name="Diamond 46"/>
            <p:cNvSpPr/>
            <p:nvPr/>
          </p:nvSpPr>
          <p:spPr>
            <a:xfrm>
              <a:off x="2463461" y="6418930"/>
              <a:ext cx="216000" cy="216000"/>
            </a:xfrm>
            <a:prstGeom prst="diamond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 bwMode="auto">
            <a:xfrm>
              <a:off x="2725472" y="6393505"/>
              <a:ext cx="213814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" pitchFamily="34" charset="0"/>
                </a:rPr>
                <a:t>Weekly status update</a:t>
              </a:r>
            </a:p>
          </p:txBody>
        </p:sp>
        <p:sp>
          <p:nvSpPr>
            <p:cNvPr id="53" name="TextBox 52"/>
            <p:cNvSpPr txBox="1"/>
            <p:nvPr/>
          </p:nvSpPr>
          <p:spPr bwMode="auto">
            <a:xfrm>
              <a:off x="5209529" y="6393505"/>
              <a:ext cx="187774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" pitchFamily="34" charset="0"/>
                </a:rPr>
                <a:t>Steering Committee</a:t>
              </a: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900" b="20600"/>
            <a:stretch/>
          </p:blipFill>
          <p:spPr>
            <a:xfrm>
              <a:off x="7373972" y="6379591"/>
              <a:ext cx="360000" cy="264599"/>
            </a:xfrm>
            <a:prstGeom prst="rect">
              <a:avLst/>
            </a:prstGeom>
          </p:spPr>
        </p:pic>
        <p:sp>
          <p:nvSpPr>
            <p:cNvPr id="73" name="TextBox 72"/>
            <p:cNvSpPr txBox="1"/>
            <p:nvPr/>
          </p:nvSpPr>
          <p:spPr bwMode="auto">
            <a:xfrm>
              <a:off x="7816467" y="6370466"/>
              <a:ext cx="126000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120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" pitchFamily="34" charset="0"/>
                </a:rPr>
                <a:t>Deliverabl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94721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8" name="Picture 6" descr="RÃ©sultat de recherche d'images pour &quot;center parcs&quot;">
            <a:extLst>
              <a:ext uri="{FF2B5EF4-FFF2-40B4-BE49-F238E27FC236}">
                <a16:creationId xmlns:a16="http://schemas.microsoft.com/office/drawing/2014/main" id="{20F4D963-663F-4A4F-9083-FCFFC1D975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53" b="11110"/>
          <a:stretch/>
        </p:blipFill>
        <p:spPr bwMode="auto">
          <a:xfrm>
            <a:off x="1333500" y="1294275"/>
            <a:ext cx="9525000" cy="50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BFC98EA-98B4-4319-B606-BD5A20DD8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se study</a:t>
            </a:r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5FD4AF2-2FBA-42C7-8B17-22378629AFE0}"/>
              </a:ext>
            </a:extLst>
          </p:cNvPr>
          <p:cNvSpPr/>
          <p:nvPr/>
        </p:nvSpPr>
        <p:spPr>
          <a:xfrm>
            <a:off x="2942303" y="3232782"/>
            <a:ext cx="6329916" cy="1200329"/>
          </a:xfrm>
          <a:prstGeom prst="rect">
            <a:avLst/>
          </a:prstGeom>
          <a:solidFill>
            <a:schemeClr val="bg2">
              <a:lumMod val="20000"/>
              <a:lumOff val="80000"/>
              <a:alpha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Identification of the themes and priorities per location to make Center </a:t>
            </a:r>
            <a:r>
              <a:rPr lang="en-US" sz="2400" b="1" err="1">
                <a:solidFill>
                  <a:schemeClr val="tx2"/>
                </a:solidFill>
              </a:rPr>
              <a:t>Parcs</a:t>
            </a:r>
            <a:r>
              <a:rPr lang="en-US" sz="2400" b="1">
                <a:solidFill>
                  <a:schemeClr val="tx2"/>
                </a:solidFill>
              </a:rPr>
              <a:t> a favorite holiday place in Europe</a:t>
            </a:r>
          </a:p>
        </p:txBody>
      </p:sp>
    </p:spTree>
    <p:extLst>
      <p:ext uri="{BB962C8B-B14F-4D97-AF65-F5344CB8AC3E}">
        <p14:creationId xmlns:p14="http://schemas.microsoft.com/office/powerpoint/2010/main" val="21330617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Object 8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0" name="Object 8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6088" y="134938"/>
            <a:ext cx="8951912" cy="715962"/>
          </a:xfrm>
        </p:spPr>
        <p:txBody>
          <a:bodyPr>
            <a:normAutofit fontScale="90000"/>
          </a:bodyPr>
          <a:lstStyle/>
          <a:p>
            <a:r>
              <a:rPr lang="en-US"/>
              <a:t>Brainstorming in groups: Business decision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310489" y="2501901"/>
            <a:ext cx="3571025" cy="3474999"/>
            <a:chOff x="2396038" y="1462598"/>
            <a:chExt cx="4351926" cy="423490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10597" y="2374693"/>
              <a:ext cx="3322806" cy="3322806"/>
            </a:xfrm>
            <a:prstGeom prst="rect">
              <a:avLst/>
            </a:prstGeom>
          </p:spPr>
        </p:pic>
        <p:grpSp>
          <p:nvGrpSpPr>
            <p:cNvPr id="6" name="Group 5"/>
            <p:cNvGrpSpPr/>
            <p:nvPr/>
          </p:nvGrpSpPr>
          <p:grpSpPr>
            <a:xfrm>
              <a:off x="2396038" y="1462598"/>
              <a:ext cx="4351926" cy="1367884"/>
              <a:chOff x="2481785" y="1298731"/>
              <a:chExt cx="4714587" cy="1481874"/>
            </a:xfrm>
          </p:grpSpPr>
          <p:cxnSp>
            <p:nvCxnSpPr>
              <p:cNvPr id="7" name="Straight Connector 6"/>
              <p:cNvCxnSpPr/>
              <p:nvPr/>
            </p:nvCxnSpPr>
            <p:spPr>
              <a:xfrm flipH="1" flipV="1">
                <a:off x="2481785" y="1908007"/>
                <a:ext cx="887039" cy="872598"/>
              </a:xfrm>
              <a:prstGeom prst="line">
                <a:avLst/>
              </a:prstGeom>
              <a:ln w="76200"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7"/>
              <p:cNvCxnSpPr/>
              <p:nvPr/>
            </p:nvCxnSpPr>
            <p:spPr>
              <a:xfrm flipH="1">
                <a:off x="6309333" y="1908007"/>
                <a:ext cx="887039" cy="872598"/>
              </a:xfrm>
              <a:prstGeom prst="line">
                <a:avLst/>
              </a:prstGeom>
              <a:ln w="76200"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/>
              <p:cNvCxnSpPr/>
              <p:nvPr/>
            </p:nvCxnSpPr>
            <p:spPr>
              <a:xfrm flipH="1">
                <a:off x="5633724" y="1298731"/>
                <a:ext cx="203898" cy="839412"/>
              </a:xfrm>
              <a:prstGeom prst="line">
                <a:avLst/>
              </a:prstGeom>
              <a:ln w="76200"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/>
              <p:cNvCxnSpPr/>
              <p:nvPr/>
            </p:nvCxnSpPr>
            <p:spPr>
              <a:xfrm>
                <a:off x="4173038" y="1298731"/>
                <a:ext cx="203898" cy="839412"/>
              </a:xfrm>
              <a:prstGeom prst="line">
                <a:avLst/>
              </a:prstGeom>
              <a:ln w="76200"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" name="Rectangle 16"/>
          <p:cNvSpPr/>
          <p:nvPr/>
        </p:nvSpPr>
        <p:spPr>
          <a:xfrm>
            <a:off x="2368550" y="1308100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bg2"/>
                </a:solidFill>
              </a:rPr>
              <a:t>What would be the potential business decisions for this use case?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0398916" y="860529"/>
            <a:ext cx="1378839" cy="576000"/>
            <a:chOff x="7373919" y="255745"/>
            <a:chExt cx="1378839" cy="576000"/>
          </a:xfrm>
        </p:grpSpPr>
        <p:grpSp>
          <p:nvGrpSpPr>
            <p:cNvPr id="13" name="Group 12"/>
            <p:cNvGrpSpPr/>
            <p:nvPr/>
          </p:nvGrpSpPr>
          <p:grpSpPr>
            <a:xfrm>
              <a:off x="7384607" y="312912"/>
              <a:ext cx="1368151" cy="461665"/>
              <a:chOff x="1098030" y="5226607"/>
              <a:chExt cx="1368151" cy="461665"/>
            </a:xfrm>
          </p:grpSpPr>
          <p:pic>
            <p:nvPicPr>
              <p:cNvPr id="15" name="Picture 14"/>
              <p:cNvPicPr>
                <a:picLocks noChangeAspect="1"/>
              </p:cNvPicPr>
              <p:nvPr/>
            </p:nvPicPr>
            <p:blipFill rotWithShape="1">
              <a:blip r:embed="rId7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4300"/>
              <a:stretch/>
            </p:blipFill>
            <p:spPr>
              <a:xfrm>
                <a:off x="1098030" y="5245026"/>
                <a:ext cx="504087" cy="432000"/>
              </a:xfrm>
              <a:prstGeom prst="rect">
                <a:avLst/>
              </a:prstGeom>
            </p:spPr>
          </p:pic>
          <p:sp>
            <p:nvSpPr>
              <p:cNvPr id="16" name="TextBox 15"/>
              <p:cNvSpPr txBox="1"/>
              <p:nvPr/>
            </p:nvSpPr>
            <p:spPr bwMode="auto">
              <a:xfrm>
                <a:off x="1707554" y="5226607"/>
                <a:ext cx="758627" cy="4616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2400" b="1">
                    <a:solidFill>
                      <a:srgbClr val="941E3B"/>
                    </a:solidFill>
                    <a:latin typeface="Calibri" pitchFamily="34" charset="0"/>
                    <a:cs typeface="Calibri" pitchFamily="34" charset="0"/>
                  </a:rPr>
                  <a:t>20’</a:t>
                </a:r>
              </a:p>
            </p:txBody>
          </p:sp>
        </p:grpSp>
        <p:sp>
          <p:nvSpPr>
            <p:cNvPr id="14" name="Rounded Rectangle 13"/>
            <p:cNvSpPr/>
            <p:nvPr/>
          </p:nvSpPr>
          <p:spPr>
            <a:xfrm>
              <a:off x="7373919" y="255745"/>
              <a:ext cx="1368000" cy="576000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8175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port-out: Business decisi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8897920" y="204919"/>
            <a:ext cx="1378839" cy="576000"/>
            <a:chOff x="7373919" y="255745"/>
            <a:chExt cx="1378839" cy="576000"/>
          </a:xfrm>
        </p:grpSpPr>
        <p:grpSp>
          <p:nvGrpSpPr>
            <p:cNvPr id="6" name="Group 5"/>
            <p:cNvGrpSpPr/>
            <p:nvPr/>
          </p:nvGrpSpPr>
          <p:grpSpPr>
            <a:xfrm>
              <a:off x="7384607" y="312912"/>
              <a:ext cx="1368151" cy="461665"/>
              <a:chOff x="1098030" y="5226607"/>
              <a:chExt cx="1368151" cy="461665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 rotWithShape="1">
              <a:blip r:embed="rId2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4300"/>
              <a:stretch/>
            </p:blipFill>
            <p:spPr>
              <a:xfrm>
                <a:off x="1098030" y="5245026"/>
                <a:ext cx="504087" cy="432000"/>
              </a:xfrm>
              <a:prstGeom prst="rect">
                <a:avLst/>
              </a:prstGeom>
            </p:spPr>
          </p:pic>
          <p:sp>
            <p:nvSpPr>
              <p:cNvPr id="9" name="TextBox 8"/>
              <p:cNvSpPr txBox="1"/>
              <p:nvPr/>
            </p:nvSpPr>
            <p:spPr bwMode="auto">
              <a:xfrm>
                <a:off x="1707554" y="5226607"/>
                <a:ext cx="758627" cy="4616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2400" b="1">
                    <a:solidFill>
                      <a:srgbClr val="941E3B"/>
                    </a:solidFill>
                    <a:latin typeface="Calibri" pitchFamily="34" charset="0"/>
                    <a:cs typeface="Calibri" pitchFamily="34" charset="0"/>
                  </a:rPr>
                  <a:t>5’</a:t>
                </a:r>
              </a:p>
            </p:txBody>
          </p:sp>
        </p:grpSp>
        <p:sp>
          <p:nvSpPr>
            <p:cNvPr id="7" name="Rounded Rectangle 6"/>
            <p:cNvSpPr/>
            <p:nvPr/>
          </p:nvSpPr>
          <p:spPr>
            <a:xfrm>
              <a:off x="7373919" y="255745"/>
              <a:ext cx="1368000" cy="576000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4125" y="2303362"/>
            <a:ext cx="4023753" cy="402375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368550" y="1308100"/>
            <a:ext cx="7454900" cy="102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bg2"/>
                </a:solidFill>
              </a:rPr>
              <a:t>One speaker from one group presents</a:t>
            </a:r>
            <a:br>
              <a:rPr lang="en-US" sz="2400">
                <a:solidFill>
                  <a:schemeClr val="bg2"/>
                </a:solidFill>
              </a:rPr>
            </a:br>
            <a:r>
              <a:rPr lang="en-US" sz="2400">
                <a:solidFill>
                  <a:schemeClr val="bg2"/>
                </a:solidFill>
              </a:rPr>
              <a:t>Other groups to complete</a:t>
            </a:r>
            <a:endParaRPr lang="en-US" sz="2400" baseline="300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6001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a business cas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080116" y="1492355"/>
            <a:ext cx="4015885" cy="212527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00000" rIns="0" rtlCol="0" anchor="ctr"/>
          <a:lstStyle/>
          <a:p>
            <a:pPr algn="ctr"/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Estimation of the benefits of</a:t>
            </a:r>
            <a:b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</a:b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a transformation project…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096001" y="1492355"/>
            <a:ext cx="4015885" cy="212527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900000" rIns="36000" rtlCol="0" anchor="ctr"/>
          <a:lstStyle/>
          <a:p>
            <a:pPr algn="ctr"/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… associated to an action plan validated by operational teams…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080116" y="4112785"/>
            <a:ext cx="4015885" cy="212527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00000" rIns="0" rtlCol="0" anchor="ctr"/>
          <a:lstStyle/>
          <a:p>
            <a:pPr algn="ctr"/>
            <a:r>
              <a:rPr lang="en-US" b="1" spc="-2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… showing impacts on the company’s financial performances…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096001" y="4112785"/>
            <a:ext cx="4015885" cy="212527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900000" rIns="36000" rtlCol="0" anchor="ctr"/>
          <a:lstStyle/>
          <a:p>
            <a:pPr algn="ctr"/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… resulting in</a:t>
            </a:r>
            <a:b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</a:b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decisions taken by the client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0789" y="1473449"/>
            <a:ext cx="1174536" cy="117453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0187" y="1306818"/>
            <a:ext cx="1367513" cy="136751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7167" y="3923138"/>
            <a:ext cx="1341780" cy="1341780"/>
          </a:xfrm>
          <a:prstGeom prst="rect">
            <a:avLst/>
          </a:prstGeom>
        </p:spPr>
      </p:pic>
      <p:grpSp>
        <p:nvGrpSpPr>
          <p:cNvPr id="19" name="Group 4"/>
          <p:cNvGrpSpPr>
            <a:grpSpLocks noChangeAspect="1"/>
          </p:cNvGrpSpPr>
          <p:nvPr/>
        </p:nvGrpSpPr>
        <p:grpSpPr bwMode="auto">
          <a:xfrm>
            <a:off x="7497429" y="3884421"/>
            <a:ext cx="1213026" cy="1303875"/>
            <a:chOff x="4867" y="1469"/>
            <a:chExt cx="948" cy="1019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4867" y="1469"/>
              <a:ext cx="948" cy="10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5253" y="1541"/>
              <a:ext cx="561" cy="461"/>
            </a:xfrm>
            <a:custGeom>
              <a:avLst/>
              <a:gdLst>
                <a:gd name="T0" fmla="*/ 280 w 2246"/>
                <a:gd name="T1" fmla="*/ 0 h 1844"/>
                <a:gd name="T2" fmla="*/ 1965 w 2246"/>
                <a:gd name="T3" fmla="*/ 0 h 1844"/>
                <a:gd name="T4" fmla="*/ 2011 w 2246"/>
                <a:gd name="T5" fmla="*/ 4 h 1844"/>
                <a:gd name="T6" fmla="*/ 2054 w 2246"/>
                <a:gd name="T7" fmla="*/ 14 h 1844"/>
                <a:gd name="T8" fmla="*/ 2094 w 2246"/>
                <a:gd name="T9" fmla="*/ 31 h 1844"/>
                <a:gd name="T10" fmla="*/ 2131 w 2246"/>
                <a:gd name="T11" fmla="*/ 54 h 1844"/>
                <a:gd name="T12" fmla="*/ 2163 w 2246"/>
                <a:gd name="T13" fmla="*/ 82 h 1844"/>
                <a:gd name="T14" fmla="*/ 2191 w 2246"/>
                <a:gd name="T15" fmla="*/ 115 h 1844"/>
                <a:gd name="T16" fmla="*/ 2215 w 2246"/>
                <a:gd name="T17" fmla="*/ 152 h 1844"/>
                <a:gd name="T18" fmla="*/ 2232 w 2246"/>
                <a:gd name="T19" fmla="*/ 191 h 1844"/>
                <a:gd name="T20" fmla="*/ 2242 w 2246"/>
                <a:gd name="T21" fmla="*/ 235 h 1844"/>
                <a:gd name="T22" fmla="*/ 2246 w 2246"/>
                <a:gd name="T23" fmla="*/ 280 h 1844"/>
                <a:gd name="T24" fmla="*/ 2246 w 2246"/>
                <a:gd name="T25" fmla="*/ 1262 h 1844"/>
                <a:gd name="T26" fmla="*/ 2242 w 2246"/>
                <a:gd name="T27" fmla="*/ 1307 h 1844"/>
                <a:gd name="T28" fmla="*/ 2232 w 2246"/>
                <a:gd name="T29" fmla="*/ 1350 h 1844"/>
                <a:gd name="T30" fmla="*/ 2215 w 2246"/>
                <a:gd name="T31" fmla="*/ 1391 h 1844"/>
                <a:gd name="T32" fmla="*/ 2191 w 2246"/>
                <a:gd name="T33" fmla="*/ 1428 h 1844"/>
                <a:gd name="T34" fmla="*/ 2163 w 2246"/>
                <a:gd name="T35" fmla="*/ 1460 h 1844"/>
                <a:gd name="T36" fmla="*/ 2131 w 2246"/>
                <a:gd name="T37" fmla="*/ 1488 h 1844"/>
                <a:gd name="T38" fmla="*/ 2094 w 2246"/>
                <a:gd name="T39" fmla="*/ 1511 h 1844"/>
                <a:gd name="T40" fmla="*/ 2054 w 2246"/>
                <a:gd name="T41" fmla="*/ 1528 h 1844"/>
                <a:gd name="T42" fmla="*/ 2011 w 2246"/>
                <a:gd name="T43" fmla="*/ 1539 h 1844"/>
                <a:gd name="T44" fmla="*/ 1965 w 2246"/>
                <a:gd name="T45" fmla="*/ 1543 h 1844"/>
                <a:gd name="T46" fmla="*/ 1053 w 2246"/>
                <a:gd name="T47" fmla="*/ 1543 h 1844"/>
                <a:gd name="T48" fmla="*/ 1053 w 2246"/>
                <a:gd name="T49" fmla="*/ 1808 h 1844"/>
                <a:gd name="T50" fmla="*/ 1050 w 2246"/>
                <a:gd name="T51" fmla="*/ 1823 h 1844"/>
                <a:gd name="T52" fmla="*/ 1042 w 2246"/>
                <a:gd name="T53" fmla="*/ 1834 h 1844"/>
                <a:gd name="T54" fmla="*/ 1031 w 2246"/>
                <a:gd name="T55" fmla="*/ 1840 h 1844"/>
                <a:gd name="T56" fmla="*/ 1018 w 2246"/>
                <a:gd name="T57" fmla="*/ 1844 h 1844"/>
                <a:gd name="T58" fmla="*/ 1005 w 2246"/>
                <a:gd name="T59" fmla="*/ 1842 h 1844"/>
                <a:gd name="T60" fmla="*/ 992 w 2246"/>
                <a:gd name="T61" fmla="*/ 1833 h 1844"/>
                <a:gd name="T62" fmla="*/ 702 w 2246"/>
                <a:gd name="T63" fmla="*/ 1543 h 1844"/>
                <a:gd name="T64" fmla="*/ 280 w 2246"/>
                <a:gd name="T65" fmla="*/ 1543 h 1844"/>
                <a:gd name="T66" fmla="*/ 235 w 2246"/>
                <a:gd name="T67" fmla="*/ 1539 h 1844"/>
                <a:gd name="T68" fmla="*/ 193 w 2246"/>
                <a:gd name="T69" fmla="*/ 1528 h 1844"/>
                <a:gd name="T70" fmla="*/ 152 w 2246"/>
                <a:gd name="T71" fmla="*/ 1511 h 1844"/>
                <a:gd name="T72" fmla="*/ 115 w 2246"/>
                <a:gd name="T73" fmla="*/ 1488 h 1844"/>
                <a:gd name="T74" fmla="*/ 83 w 2246"/>
                <a:gd name="T75" fmla="*/ 1460 h 1844"/>
                <a:gd name="T76" fmla="*/ 54 w 2246"/>
                <a:gd name="T77" fmla="*/ 1428 h 1844"/>
                <a:gd name="T78" fmla="*/ 32 w 2246"/>
                <a:gd name="T79" fmla="*/ 1391 h 1844"/>
                <a:gd name="T80" fmla="*/ 15 w 2246"/>
                <a:gd name="T81" fmla="*/ 1350 h 1844"/>
                <a:gd name="T82" fmla="*/ 3 w 2246"/>
                <a:gd name="T83" fmla="*/ 1307 h 1844"/>
                <a:gd name="T84" fmla="*/ 0 w 2246"/>
                <a:gd name="T85" fmla="*/ 1262 h 1844"/>
                <a:gd name="T86" fmla="*/ 0 w 2246"/>
                <a:gd name="T87" fmla="*/ 280 h 1844"/>
                <a:gd name="T88" fmla="*/ 3 w 2246"/>
                <a:gd name="T89" fmla="*/ 235 h 1844"/>
                <a:gd name="T90" fmla="*/ 15 w 2246"/>
                <a:gd name="T91" fmla="*/ 191 h 1844"/>
                <a:gd name="T92" fmla="*/ 32 w 2246"/>
                <a:gd name="T93" fmla="*/ 152 h 1844"/>
                <a:gd name="T94" fmla="*/ 54 w 2246"/>
                <a:gd name="T95" fmla="*/ 115 h 1844"/>
                <a:gd name="T96" fmla="*/ 83 w 2246"/>
                <a:gd name="T97" fmla="*/ 82 h 1844"/>
                <a:gd name="T98" fmla="*/ 115 w 2246"/>
                <a:gd name="T99" fmla="*/ 54 h 1844"/>
                <a:gd name="T100" fmla="*/ 152 w 2246"/>
                <a:gd name="T101" fmla="*/ 31 h 1844"/>
                <a:gd name="T102" fmla="*/ 193 w 2246"/>
                <a:gd name="T103" fmla="*/ 14 h 1844"/>
                <a:gd name="T104" fmla="*/ 235 w 2246"/>
                <a:gd name="T105" fmla="*/ 4 h 1844"/>
                <a:gd name="T106" fmla="*/ 280 w 2246"/>
                <a:gd name="T107" fmla="*/ 0 h 1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46" h="1844">
                  <a:moveTo>
                    <a:pt x="280" y="0"/>
                  </a:moveTo>
                  <a:lnTo>
                    <a:pt x="1965" y="0"/>
                  </a:lnTo>
                  <a:lnTo>
                    <a:pt x="2011" y="4"/>
                  </a:lnTo>
                  <a:lnTo>
                    <a:pt x="2054" y="14"/>
                  </a:lnTo>
                  <a:lnTo>
                    <a:pt x="2094" y="31"/>
                  </a:lnTo>
                  <a:lnTo>
                    <a:pt x="2131" y="54"/>
                  </a:lnTo>
                  <a:lnTo>
                    <a:pt x="2163" y="82"/>
                  </a:lnTo>
                  <a:lnTo>
                    <a:pt x="2191" y="115"/>
                  </a:lnTo>
                  <a:lnTo>
                    <a:pt x="2215" y="152"/>
                  </a:lnTo>
                  <a:lnTo>
                    <a:pt x="2232" y="191"/>
                  </a:lnTo>
                  <a:lnTo>
                    <a:pt x="2242" y="235"/>
                  </a:lnTo>
                  <a:lnTo>
                    <a:pt x="2246" y="280"/>
                  </a:lnTo>
                  <a:lnTo>
                    <a:pt x="2246" y="1262"/>
                  </a:lnTo>
                  <a:lnTo>
                    <a:pt x="2242" y="1307"/>
                  </a:lnTo>
                  <a:lnTo>
                    <a:pt x="2232" y="1350"/>
                  </a:lnTo>
                  <a:lnTo>
                    <a:pt x="2215" y="1391"/>
                  </a:lnTo>
                  <a:lnTo>
                    <a:pt x="2191" y="1428"/>
                  </a:lnTo>
                  <a:lnTo>
                    <a:pt x="2163" y="1460"/>
                  </a:lnTo>
                  <a:lnTo>
                    <a:pt x="2131" y="1488"/>
                  </a:lnTo>
                  <a:lnTo>
                    <a:pt x="2094" y="1511"/>
                  </a:lnTo>
                  <a:lnTo>
                    <a:pt x="2054" y="1528"/>
                  </a:lnTo>
                  <a:lnTo>
                    <a:pt x="2011" y="1539"/>
                  </a:lnTo>
                  <a:lnTo>
                    <a:pt x="1965" y="1543"/>
                  </a:lnTo>
                  <a:lnTo>
                    <a:pt x="1053" y="1543"/>
                  </a:lnTo>
                  <a:lnTo>
                    <a:pt x="1053" y="1808"/>
                  </a:lnTo>
                  <a:lnTo>
                    <a:pt x="1050" y="1823"/>
                  </a:lnTo>
                  <a:lnTo>
                    <a:pt x="1042" y="1834"/>
                  </a:lnTo>
                  <a:lnTo>
                    <a:pt x="1031" y="1840"/>
                  </a:lnTo>
                  <a:lnTo>
                    <a:pt x="1018" y="1844"/>
                  </a:lnTo>
                  <a:lnTo>
                    <a:pt x="1005" y="1842"/>
                  </a:lnTo>
                  <a:lnTo>
                    <a:pt x="992" y="1833"/>
                  </a:lnTo>
                  <a:lnTo>
                    <a:pt x="702" y="1543"/>
                  </a:lnTo>
                  <a:lnTo>
                    <a:pt x="280" y="1543"/>
                  </a:lnTo>
                  <a:lnTo>
                    <a:pt x="235" y="1539"/>
                  </a:lnTo>
                  <a:lnTo>
                    <a:pt x="193" y="1528"/>
                  </a:lnTo>
                  <a:lnTo>
                    <a:pt x="152" y="1511"/>
                  </a:lnTo>
                  <a:lnTo>
                    <a:pt x="115" y="1488"/>
                  </a:lnTo>
                  <a:lnTo>
                    <a:pt x="83" y="1460"/>
                  </a:lnTo>
                  <a:lnTo>
                    <a:pt x="54" y="1428"/>
                  </a:lnTo>
                  <a:lnTo>
                    <a:pt x="32" y="1391"/>
                  </a:lnTo>
                  <a:lnTo>
                    <a:pt x="15" y="1350"/>
                  </a:lnTo>
                  <a:lnTo>
                    <a:pt x="3" y="1307"/>
                  </a:lnTo>
                  <a:lnTo>
                    <a:pt x="0" y="1262"/>
                  </a:lnTo>
                  <a:lnTo>
                    <a:pt x="0" y="280"/>
                  </a:lnTo>
                  <a:lnTo>
                    <a:pt x="3" y="235"/>
                  </a:lnTo>
                  <a:lnTo>
                    <a:pt x="15" y="191"/>
                  </a:lnTo>
                  <a:lnTo>
                    <a:pt x="32" y="152"/>
                  </a:lnTo>
                  <a:lnTo>
                    <a:pt x="54" y="115"/>
                  </a:lnTo>
                  <a:lnTo>
                    <a:pt x="83" y="82"/>
                  </a:lnTo>
                  <a:lnTo>
                    <a:pt x="115" y="54"/>
                  </a:lnTo>
                  <a:lnTo>
                    <a:pt x="152" y="31"/>
                  </a:lnTo>
                  <a:lnTo>
                    <a:pt x="193" y="14"/>
                  </a:lnTo>
                  <a:lnTo>
                    <a:pt x="235" y="4"/>
                  </a:lnTo>
                  <a:lnTo>
                    <a:pt x="280" y="0"/>
                  </a:lnTo>
                  <a:close/>
                </a:path>
              </a:pathLst>
            </a:custGeom>
            <a:solidFill>
              <a:srgbClr val="CBDDF6"/>
            </a:solidFill>
            <a:ln w="0">
              <a:solidFill>
                <a:srgbClr val="CBDDF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5253" y="1541"/>
              <a:ext cx="491" cy="351"/>
            </a:xfrm>
            <a:custGeom>
              <a:avLst/>
              <a:gdLst>
                <a:gd name="T0" fmla="*/ 843 w 1965"/>
                <a:gd name="T1" fmla="*/ 0 h 1402"/>
                <a:gd name="T2" fmla="*/ 1404 w 1965"/>
                <a:gd name="T3" fmla="*/ 280 h 1402"/>
                <a:gd name="T4" fmla="*/ 1440 w 1965"/>
                <a:gd name="T5" fmla="*/ 290 h 1402"/>
                <a:gd name="T6" fmla="*/ 1466 w 1965"/>
                <a:gd name="T7" fmla="*/ 317 h 1402"/>
                <a:gd name="T8" fmla="*/ 1473 w 1965"/>
                <a:gd name="T9" fmla="*/ 355 h 1402"/>
                <a:gd name="T10" fmla="*/ 1458 w 1965"/>
                <a:gd name="T11" fmla="*/ 394 h 1402"/>
                <a:gd name="T12" fmla="*/ 1422 w 1965"/>
                <a:gd name="T13" fmla="*/ 418 h 1402"/>
                <a:gd name="T14" fmla="*/ 843 w 1965"/>
                <a:gd name="T15" fmla="*/ 420 h 1402"/>
                <a:gd name="T16" fmla="*/ 1892 w 1965"/>
                <a:gd name="T17" fmla="*/ 561 h 1402"/>
                <a:gd name="T18" fmla="*/ 1933 w 1965"/>
                <a:gd name="T19" fmla="*/ 573 h 1402"/>
                <a:gd name="T20" fmla="*/ 1960 w 1965"/>
                <a:gd name="T21" fmla="*/ 605 h 1402"/>
                <a:gd name="T22" fmla="*/ 1964 w 1965"/>
                <a:gd name="T23" fmla="*/ 646 h 1402"/>
                <a:gd name="T24" fmla="*/ 1946 w 1965"/>
                <a:gd name="T25" fmla="*/ 679 h 1402"/>
                <a:gd name="T26" fmla="*/ 1914 w 1965"/>
                <a:gd name="T27" fmla="*/ 698 h 1402"/>
                <a:gd name="T28" fmla="*/ 843 w 1965"/>
                <a:gd name="T29" fmla="*/ 700 h 1402"/>
                <a:gd name="T30" fmla="*/ 1123 w 1965"/>
                <a:gd name="T31" fmla="*/ 841 h 1402"/>
                <a:gd name="T32" fmla="*/ 1162 w 1965"/>
                <a:gd name="T33" fmla="*/ 852 h 1402"/>
                <a:gd name="T34" fmla="*/ 1186 w 1965"/>
                <a:gd name="T35" fmla="*/ 882 h 1402"/>
                <a:gd name="T36" fmla="*/ 1192 w 1965"/>
                <a:gd name="T37" fmla="*/ 921 h 1402"/>
                <a:gd name="T38" fmla="*/ 1175 w 1965"/>
                <a:gd name="T39" fmla="*/ 957 h 1402"/>
                <a:gd name="T40" fmla="*/ 1141 w 1965"/>
                <a:gd name="T41" fmla="*/ 978 h 1402"/>
                <a:gd name="T42" fmla="*/ 843 w 1965"/>
                <a:gd name="T43" fmla="*/ 982 h 1402"/>
                <a:gd name="T44" fmla="*/ 827 w 1965"/>
                <a:gd name="T45" fmla="*/ 1093 h 1402"/>
                <a:gd name="T46" fmla="*/ 785 w 1965"/>
                <a:gd name="T47" fmla="*/ 1193 h 1402"/>
                <a:gd name="T48" fmla="*/ 719 w 1965"/>
                <a:gd name="T49" fmla="*/ 1278 h 1402"/>
                <a:gd name="T50" fmla="*/ 634 w 1965"/>
                <a:gd name="T51" fmla="*/ 1345 h 1402"/>
                <a:gd name="T52" fmla="*/ 532 w 1965"/>
                <a:gd name="T53" fmla="*/ 1387 h 1402"/>
                <a:gd name="T54" fmla="*/ 421 w 1965"/>
                <a:gd name="T55" fmla="*/ 1402 h 1402"/>
                <a:gd name="T56" fmla="*/ 23 w 1965"/>
                <a:gd name="T57" fmla="*/ 1370 h 1402"/>
                <a:gd name="T58" fmla="*/ 2 w 1965"/>
                <a:gd name="T59" fmla="*/ 1299 h 1402"/>
                <a:gd name="T60" fmla="*/ 421 w 1965"/>
                <a:gd name="T61" fmla="*/ 1262 h 1402"/>
                <a:gd name="T62" fmla="*/ 509 w 1965"/>
                <a:gd name="T63" fmla="*/ 1248 h 1402"/>
                <a:gd name="T64" fmla="*/ 587 w 1965"/>
                <a:gd name="T65" fmla="*/ 1208 h 1402"/>
                <a:gd name="T66" fmla="*/ 647 w 1965"/>
                <a:gd name="T67" fmla="*/ 1146 h 1402"/>
                <a:gd name="T68" fmla="*/ 687 w 1965"/>
                <a:gd name="T69" fmla="*/ 1070 h 1402"/>
                <a:gd name="T70" fmla="*/ 702 w 1965"/>
                <a:gd name="T71" fmla="*/ 982 h 1402"/>
                <a:gd name="T72" fmla="*/ 702 w 1965"/>
                <a:gd name="T73" fmla="*/ 950 h 1402"/>
                <a:gd name="T74" fmla="*/ 702 w 1965"/>
                <a:gd name="T75" fmla="*/ 468 h 1402"/>
                <a:gd name="T76" fmla="*/ 702 w 1965"/>
                <a:gd name="T77" fmla="*/ 351 h 1402"/>
                <a:gd name="T78" fmla="*/ 702 w 1965"/>
                <a:gd name="T79" fmla="*/ 241 h 1402"/>
                <a:gd name="T80" fmla="*/ 702 w 1965"/>
                <a:gd name="T81" fmla="*/ 40 h 1402"/>
                <a:gd name="T82" fmla="*/ 702 w 1965"/>
                <a:gd name="T83" fmla="*/ 4 h 1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65" h="1402">
                  <a:moveTo>
                    <a:pt x="702" y="0"/>
                  </a:moveTo>
                  <a:lnTo>
                    <a:pt x="843" y="0"/>
                  </a:lnTo>
                  <a:lnTo>
                    <a:pt x="843" y="280"/>
                  </a:lnTo>
                  <a:lnTo>
                    <a:pt x="1404" y="280"/>
                  </a:lnTo>
                  <a:lnTo>
                    <a:pt x="1422" y="283"/>
                  </a:lnTo>
                  <a:lnTo>
                    <a:pt x="1440" y="290"/>
                  </a:lnTo>
                  <a:lnTo>
                    <a:pt x="1454" y="303"/>
                  </a:lnTo>
                  <a:lnTo>
                    <a:pt x="1466" y="317"/>
                  </a:lnTo>
                  <a:lnTo>
                    <a:pt x="1472" y="335"/>
                  </a:lnTo>
                  <a:lnTo>
                    <a:pt x="1473" y="355"/>
                  </a:lnTo>
                  <a:lnTo>
                    <a:pt x="1469" y="376"/>
                  </a:lnTo>
                  <a:lnTo>
                    <a:pt x="1458" y="394"/>
                  </a:lnTo>
                  <a:lnTo>
                    <a:pt x="1442" y="408"/>
                  </a:lnTo>
                  <a:lnTo>
                    <a:pt x="1422" y="418"/>
                  </a:lnTo>
                  <a:lnTo>
                    <a:pt x="1401" y="420"/>
                  </a:lnTo>
                  <a:lnTo>
                    <a:pt x="843" y="420"/>
                  </a:lnTo>
                  <a:lnTo>
                    <a:pt x="843" y="561"/>
                  </a:lnTo>
                  <a:lnTo>
                    <a:pt x="1892" y="561"/>
                  </a:lnTo>
                  <a:lnTo>
                    <a:pt x="1914" y="563"/>
                  </a:lnTo>
                  <a:lnTo>
                    <a:pt x="1933" y="573"/>
                  </a:lnTo>
                  <a:lnTo>
                    <a:pt x="1949" y="587"/>
                  </a:lnTo>
                  <a:lnTo>
                    <a:pt x="1960" y="605"/>
                  </a:lnTo>
                  <a:lnTo>
                    <a:pt x="1965" y="626"/>
                  </a:lnTo>
                  <a:lnTo>
                    <a:pt x="1964" y="646"/>
                  </a:lnTo>
                  <a:lnTo>
                    <a:pt x="1956" y="663"/>
                  </a:lnTo>
                  <a:lnTo>
                    <a:pt x="1946" y="679"/>
                  </a:lnTo>
                  <a:lnTo>
                    <a:pt x="1932" y="690"/>
                  </a:lnTo>
                  <a:lnTo>
                    <a:pt x="1914" y="698"/>
                  </a:lnTo>
                  <a:lnTo>
                    <a:pt x="1895" y="700"/>
                  </a:lnTo>
                  <a:lnTo>
                    <a:pt x="843" y="700"/>
                  </a:lnTo>
                  <a:lnTo>
                    <a:pt x="843" y="841"/>
                  </a:lnTo>
                  <a:lnTo>
                    <a:pt x="1123" y="841"/>
                  </a:lnTo>
                  <a:lnTo>
                    <a:pt x="1143" y="844"/>
                  </a:lnTo>
                  <a:lnTo>
                    <a:pt x="1162" y="852"/>
                  </a:lnTo>
                  <a:lnTo>
                    <a:pt x="1175" y="865"/>
                  </a:lnTo>
                  <a:lnTo>
                    <a:pt x="1186" y="882"/>
                  </a:lnTo>
                  <a:lnTo>
                    <a:pt x="1192" y="900"/>
                  </a:lnTo>
                  <a:lnTo>
                    <a:pt x="1192" y="921"/>
                  </a:lnTo>
                  <a:lnTo>
                    <a:pt x="1186" y="941"/>
                  </a:lnTo>
                  <a:lnTo>
                    <a:pt x="1175" y="957"/>
                  </a:lnTo>
                  <a:lnTo>
                    <a:pt x="1159" y="971"/>
                  </a:lnTo>
                  <a:lnTo>
                    <a:pt x="1141" y="978"/>
                  </a:lnTo>
                  <a:lnTo>
                    <a:pt x="1121" y="982"/>
                  </a:lnTo>
                  <a:lnTo>
                    <a:pt x="843" y="982"/>
                  </a:lnTo>
                  <a:lnTo>
                    <a:pt x="838" y="1039"/>
                  </a:lnTo>
                  <a:lnTo>
                    <a:pt x="827" y="1093"/>
                  </a:lnTo>
                  <a:lnTo>
                    <a:pt x="809" y="1145"/>
                  </a:lnTo>
                  <a:lnTo>
                    <a:pt x="785" y="1193"/>
                  </a:lnTo>
                  <a:lnTo>
                    <a:pt x="754" y="1239"/>
                  </a:lnTo>
                  <a:lnTo>
                    <a:pt x="719" y="1278"/>
                  </a:lnTo>
                  <a:lnTo>
                    <a:pt x="678" y="1314"/>
                  </a:lnTo>
                  <a:lnTo>
                    <a:pt x="634" y="1345"/>
                  </a:lnTo>
                  <a:lnTo>
                    <a:pt x="584" y="1369"/>
                  </a:lnTo>
                  <a:lnTo>
                    <a:pt x="532" y="1387"/>
                  </a:lnTo>
                  <a:lnTo>
                    <a:pt x="478" y="1398"/>
                  </a:lnTo>
                  <a:lnTo>
                    <a:pt x="421" y="1402"/>
                  </a:lnTo>
                  <a:lnTo>
                    <a:pt x="39" y="1402"/>
                  </a:lnTo>
                  <a:lnTo>
                    <a:pt x="23" y="1370"/>
                  </a:lnTo>
                  <a:lnTo>
                    <a:pt x="11" y="1335"/>
                  </a:lnTo>
                  <a:lnTo>
                    <a:pt x="2" y="1299"/>
                  </a:lnTo>
                  <a:lnTo>
                    <a:pt x="0" y="1262"/>
                  </a:lnTo>
                  <a:lnTo>
                    <a:pt x="421" y="1262"/>
                  </a:lnTo>
                  <a:lnTo>
                    <a:pt x="467" y="1259"/>
                  </a:lnTo>
                  <a:lnTo>
                    <a:pt x="509" y="1248"/>
                  </a:lnTo>
                  <a:lnTo>
                    <a:pt x="550" y="1230"/>
                  </a:lnTo>
                  <a:lnTo>
                    <a:pt x="587" y="1208"/>
                  </a:lnTo>
                  <a:lnTo>
                    <a:pt x="619" y="1180"/>
                  </a:lnTo>
                  <a:lnTo>
                    <a:pt x="647" y="1146"/>
                  </a:lnTo>
                  <a:lnTo>
                    <a:pt x="670" y="1110"/>
                  </a:lnTo>
                  <a:lnTo>
                    <a:pt x="687" y="1070"/>
                  </a:lnTo>
                  <a:lnTo>
                    <a:pt x="698" y="1026"/>
                  </a:lnTo>
                  <a:lnTo>
                    <a:pt x="702" y="982"/>
                  </a:lnTo>
                  <a:lnTo>
                    <a:pt x="702" y="970"/>
                  </a:lnTo>
                  <a:lnTo>
                    <a:pt x="702" y="950"/>
                  </a:lnTo>
                  <a:lnTo>
                    <a:pt x="702" y="923"/>
                  </a:lnTo>
                  <a:lnTo>
                    <a:pt x="702" y="468"/>
                  </a:lnTo>
                  <a:lnTo>
                    <a:pt x="702" y="409"/>
                  </a:lnTo>
                  <a:lnTo>
                    <a:pt x="702" y="351"/>
                  </a:lnTo>
                  <a:lnTo>
                    <a:pt x="702" y="295"/>
                  </a:lnTo>
                  <a:lnTo>
                    <a:pt x="702" y="241"/>
                  </a:lnTo>
                  <a:lnTo>
                    <a:pt x="702" y="190"/>
                  </a:lnTo>
                  <a:lnTo>
                    <a:pt x="702" y="40"/>
                  </a:lnTo>
                  <a:lnTo>
                    <a:pt x="702" y="17"/>
                  </a:lnTo>
                  <a:lnTo>
                    <a:pt x="702" y="4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rgbClr val="B0C8ED"/>
            </a:solidFill>
            <a:ln w="0">
              <a:solidFill>
                <a:srgbClr val="B0C8E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auto">
            <a:xfrm>
              <a:off x="5656" y="1611"/>
              <a:ext cx="88" cy="35"/>
            </a:xfrm>
            <a:custGeom>
              <a:avLst/>
              <a:gdLst>
                <a:gd name="T0" fmla="*/ 70 w 351"/>
                <a:gd name="T1" fmla="*/ 0 h 140"/>
                <a:gd name="T2" fmla="*/ 281 w 351"/>
                <a:gd name="T3" fmla="*/ 0 h 140"/>
                <a:gd name="T4" fmla="*/ 303 w 351"/>
                <a:gd name="T5" fmla="*/ 4 h 140"/>
                <a:gd name="T6" fmla="*/ 323 w 351"/>
                <a:gd name="T7" fmla="*/ 14 h 140"/>
                <a:gd name="T8" fmla="*/ 337 w 351"/>
                <a:gd name="T9" fmla="*/ 29 h 140"/>
                <a:gd name="T10" fmla="*/ 347 w 351"/>
                <a:gd name="T11" fmla="*/ 49 h 140"/>
                <a:gd name="T12" fmla="*/ 351 w 351"/>
                <a:gd name="T13" fmla="*/ 70 h 140"/>
                <a:gd name="T14" fmla="*/ 347 w 351"/>
                <a:gd name="T15" fmla="*/ 92 h 140"/>
                <a:gd name="T16" fmla="*/ 337 w 351"/>
                <a:gd name="T17" fmla="*/ 112 h 140"/>
                <a:gd name="T18" fmla="*/ 323 w 351"/>
                <a:gd name="T19" fmla="*/ 126 h 140"/>
                <a:gd name="T20" fmla="*/ 303 w 351"/>
                <a:gd name="T21" fmla="*/ 136 h 140"/>
                <a:gd name="T22" fmla="*/ 281 w 351"/>
                <a:gd name="T23" fmla="*/ 140 h 140"/>
                <a:gd name="T24" fmla="*/ 70 w 351"/>
                <a:gd name="T25" fmla="*/ 140 h 140"/>
                <a:gd name="T26" fmla="*/ 48 w 351"/>
                <a:gd name="T27" fmla="*/ 136 h 140"/>
                <a:gd name="T28" fmla="*/ 28 w 351"/>
                <a:gd name="T29" fmla="*/ 126 h 140"/>
                <a:gd name="T30" fmla="*/ 14 w 351"/>
                <a:gd name="T31" fmla="*/ 112 h 140"/>
                <a:gd name="T32" fmla="*/ 4 w 351"/>
                <a:gd name="T33" fmla="*/ 92 h 140"/>
                <a:gd name="T34" fmla="*/ 0 w 351"/>
                <a:gd name="T35" fmla="*/ 70 h 140"/>
                <a:gd name="T36" fmla="*/ 4 w 351"/>
                <a:gd name="T37" fmla="*/ 49 h 140"/>
                <a:gd name="T38" fmla="*/ 14 w 351"/>
                <a:gd name="T39" fmla="*/ 29 h 140"/>
                <a:gd name="T40" fmla="*/ 28 w 351"/>
                <a:gd name="T41" fmla="*/ 14 h 140"/>
                <a:gd name="T42" fmla="*/ 48 w 351"/>
                <a:gd name="T43" fmla="*/ 4 h 140"/>
                <a:gd name="T44" fmla="*/ 70 w 351"/>
                <a:gd name="T4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1" h="140">
                  <a:moveTo>
                    <a:pt x="70" y="0"/>
                  </a:moveTo>
                  <a:lnTo>
                    <a:pt x="281" y="0"/>
                  </a:lnTo>
                  <a:lnTo>
                    <a:pt x="303" y="4"/>
                  </a:lnTo>
                  <a:lnTo>
                    <a:pt x="323" y="14"/>
                  </a:lnTo>
                  <a:lnTo>
                    <a:pt x="337" y="29"/>
                  </a:lnTo>
                  <a:lnTo>
                    <a:pt x="347" y="49"/>
                  </a:lnTo>
                  <a:lnTo>
                    <a:pt x="351" y="70"/>
                  </a:lnTo>
                  <a:lnTo>
                    <a:pt x="347" y="92"/>
                  </a:lnTo>
                  <a:lnTo>
                    <a:pt x="337" y="112"/>
                  </a:lnTo>
                  <a:lnTo>
                    <a:pt x="323" y="126"/>
                  </a:lnTo>
                  <a:lnTo>
                    <a:pt x="303" y="136"/>
                  </a:lnTo>
                  <a:lnTo>
                    <a:pt x="281" y="140"/>
                  </a:lnTo>
                  <a:lnTo>
                    <a:pt x="70" y="140"/>
                  </a:lnTo>
                  <a:lnTo>
                    <a:pt x="48" y="136"/>
                  </a:lnTo>
                  <a:lnTo>
                    <a:pt x="28" y="126"/>
                  </a:lnTo>
                  <a:lnTo>
                    <a:pt x="14" y="112"/>
                  </a:lnTo>
                  <a:lnTo>
                    <a:pt x="4" y="92"/>
                  </a:lnTo>
                  <a:lnTo>
                    <a:pt x="0" y="70"/>
                  </a:lnTo>
                  <a:lnTo>
                    <a:pt x="4" y="49"/>
                  </a:lnTo>
                  <a:lnTo>
                    <a:pt x="14" y="29"/>
                  </a:lnTo>
                  <a:lnTo>
                    <a:pt x="28" y="14"/>
                  </a:lnTo>
                  <a:lnTo>
                    <a:pt x="48" y="4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8FA8CF"/>
            </a:solidFill>
            <a:ln w="0">
              <a:solidFill>
                <a:srgbClr val="8FA8C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9"/>
            <p:cNvSpPr>
              <a:spLocks/>
            </p:cNvSpPr>
            <p:nvPr/>
          </p:nvSpPr>
          <p:spPr bwMode="auto">
            <a:xfrm>
              <a:off x="5586" y="1752"/>
              <a:ext cx="158" cy="35"/>
            </a:xfrm>
            <a:custGeom>
              <a:avLst/>
              <a:gdLst>
                <a:gd name="T0" fmla="*/ 71 w 632"/>
                <a:gd name="T1" fmla="*/ 0 h 141"/>
                <a:gd name="T2" fmla="*/ 562 w 632"/>
                <a:gd name="T3" fmla="*/ 0 h 141"/>
                <a:gd name="T4" fmla="*/ 584 w 632"/>
                <a:gd name="T5" fmla="*/ 4 h 141"/>
                <a:gd name="T6" fmla="*/ 604 w 632"/>
                <a:gd name="T7" fmla="*/ 14 h 141"/>
                <a:gd name="T8" fmla="*/ 618 w 632"/>
                <a:gd name="T9" fmla="*/ 29 h 141"/>
                <a:gd name="T10" fmla="*/ 628 w 632"/>
                <a:gd name="T11" fmla="*/ 48 h 141"/>
                <a:gd name="T12" fmla="*/ 632 w 632"/>
                <a:gd name="T13" fmla="*/ 71 h 141"/>
                <a:gd name="T14" fmla="*/ 628 w 632"/>
                <a:gd name="T15" fmla="*/ 93 h 141"/>
                <a:gd name="T16" fmla="*/ 618 w 632"/>
                <a:gd name="T17" fmla="*/ 111 h 141"/>
                <a:gd name="T18" fmla="*/ 604 w 632"/>
                <a:gd name="T19" fmla="*/ 127 h 141"/>
                <a:gd name="T20" fmla="*/ 584 w 632"/>
                <a:gd name="T21" fmla="*/ 137 h 141"/>
                <a:gd name="T22" fmla="*/ 562 w 632"/>
                <a:gd name="T23" fmla="*/ 141 h 141"/>
                <a:gd name="T24" fmla="*/ 71 w 632"/>
                <a:gd name="T25" fmla="*/ 141 h 141"/>
                <a:gd name="T26" fmla="*/ 49 w 632"/>
                <a:gd name="T27" fmla="*/ 137 h 141"/>
                <a:gd name="T28" fmla="*/ 29 w 632"/>
                <a:gd name="T29" fmla="*/ 127 h 141"/>
                <a:gd name="T30" fmla="*/ 14 w 632"/>
                <a:gd name="T31" fmla="*/ 111 h 141"/>
                <a:gd name="T32" fmla="*/ 4 w 632"/>
                <a:gd name="T33" fmla="*/ 93 h 141"/>
                <a:gd name="T34" fmla="*/ 0 w 632"/>
                <a:gd name="T35" fmla="*/ 71 h 141"/>
                <a:gd name="T36" fmla="*/ 4 w 632"/>
                <a:gd name="T37" fmla="*/ 48 h 141"/>
                <a:gd name="T38" fmla="*/ 14 w 632"/>
                <a:gd name="T39" fmla="*/ 29 h 141"/>
                <a:gd name="T40" fmla="*/ 29 w 632"/>
                <a:gd name="T41" fmla="*/ 14 h 141"/>
                <a:gd name="T42" fmla="*/ 49 w 632"/>
                <a:gd name="T43" fmla="*/ 4 h 141"/>
                <a:gd name="T44" fmla="*/ 71 w 632"/>
                <a:gd name="T45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32" h="141">
                  <a:moveTo>
                    <a:pt x="71" y="0"/>
                  </a:moveTo>
                  <a:lnTo>
                    <a:pt x="562" y="0"/>
                  </a:lnTo>
                  <a:lnTo>
                    <a:pt x="584" y="4"/>
                  </a:lnTo>
                  <a:lnTo>
                    <a:pt x="604" y="14"/>
                  </a:lnTo>
                  <a:lnTo>
                    <a:pt x="618" y="29"/>
                  </a:lnTo>
                  <a:lnTo>
                    <a:pt x="628" y="48"/>
                  </a:lnTo>
                  <a:lnTo>
                    <a:pt x="632" y="71"/>
                  </a:lnTo>
                  <a:lnTo>
                    <a:pt x="628" y="93"/>
                  </a:lnTo>
                  <a:lnTo>
                    <a:pt x="618" y="111"/>
                  </a:lnTo>
                  <a:lnTo>
                    <a:pt x="604" y="127"/>
                  </a:lnTo>
                  <a:lnTo>
                    <a:pt x="584" y="137"/>
                  </a:lnTo>
                  <a:lnTo>
                    <a:pt x="562" y="141"/>
                  </a:lnTo>
                  <a:lnTo>
                    <a:pt x="71" y="141"/>
                  </a:lnTo>
                  <a:lnTo>
                    <a:pt x="49" y="137"/>
                  </a:lnTo>
                  <a:lnTo>
                    <a:pt x="29" y="127"/>
                  </a:lnTo>
                  <a:lnTo>
                    <a:pt x="14" y="111"/>
                  </a:lnTo>
                  <a:lnTo>
                    <a:pt x="4" y="93"/>
                  </a:lnTo>
                  <a:lnTo>
                    <a:pt x="0" y="71"/>
                  </a:lnTo>
                  <a:lnTo>
                    <a:pt x="4" y="48"/>
                  </a:lnTo>
                  <a:lnTo>
                    <a:pt x="14" y="29"/>
                  </a:lnTo>
                  <a:lnTo>
                    <a:pt x="29" y="14"/>
                  </a:lnTo>
                  <a:lnTo>
                    <a:pt x="49" y="4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8FA8CF"/>
            </a:solidFill>
            <a:ln w="0">
              <a:solidFill>
                <a:srgbClr val="8FA8C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5464" y="1822"/>
              <a:ext cx="280" cy="35"/>
            </a:xfrm>
            <a:custGeom>
              <a:avLst/>
              <a:gdLst>
                <a:gd name="T0" fmla="*/ 69 w 1122"/>
                <a:gd name="T1" fmla="*/ 0 h 140"/>
                <a:gd name="T2" fmla="*/ 1052 w 1122"/>
                <a:gd name="T3" fmla="*/ 0 h 140"/>
                <a:gd name="T4" fmla="*/ 1074 w 1122"/>
                <a:gd name="T5" fmla="*/ 3 h 140"/>
                <a:gd name="T6" fmla="*/ 1094 w 1122"/>
                <a:gd name="T7" fmla="*/ 13 h 140"/>
                <a:gd name="T8" fmla="*/ 1108 w 1122"/>
                <a:gd name="T9" fmla="*/ 28 h 140"/>
                <a:gd name="T10" fmla="*/ 1118 w 1122"/>
                <a:gd name="T11" fmla="*/ 48 h 140"/>
                <a:gd name="T12" fmla="*/ 1122 w 1122"/>
                <a:gd name="T13" fmla="*/ 70 h 140"/>
                <a:gd name="T14" fmla="*/ 1118 w 1122"/>
                <a:gd name="T15" fmla="*/ 92 h 140"/>
                <a:gd name="T16" fmla="*/ 1108 w 1122"/>
                <a:gd name="T17" fmla="*/ 111 h 140"/>
                <a:gd name="T18" fmla="*/ 1094 w 1122"/>
                <a:gd name="T19" fmla="*/ 127 h 140"/>
                <a:gd name="T20" fmla="*/ 1074 w 1122"/>
                <a:gd name="T21" fmla="*/ 137 h 140"/>
                <a:gd name="T22" fmla="*/ 1052 w 1122"/>
                <a:gd name="T23" fmla="*/ 140 h 140"/>
                <a:gd name="T24" fmla="*/ 69 w 1122"/>
                <a:gd name="T25" fmla="*/ 140 h 140"/>
                <a:gd name="T26" fmla="*/ 47 w 1122"/>
                <a:gd name="T27" fmla="*/ 137 h 140"/>
                <a:gd name="T28" fmla="*/ 28 w 1122"/>
                <a:gd name="T29" fmla="*/ 127 h 140"/>
                <a:gd name="T30" fmla="*/ 12 w 1122"/>
                <a:gd name="T31" fmla="*/ 111 h 140"/>
                <a:gd name="T32" fmla="*/ 2 w 1122"/>
                <a:gd name="T33" fmla="*/ 92 h 140"/>
                <a:gd name="T34" fmla="*/ 0 w 1122"/>
                <a:gd name="T35" fmla="*/ 70 h 140"/>
                <a:gd name="T36" fmla="*/ 2 w 1122"/>
                <a:gd name="T37" fmla="*/ 48 h 140"/>
                <a:gd name="T38" fmla="*/ 12 w 1122"/>
                <a:gd name="T39" fmla="*/ 28 h 140"/>
                <a:gd name="T40" fmla="*/ 28 w 1122"/>
                <a:gd name="T41" fmla="*/ 13 h 140"/>
                <a:gd name="T42" fmla="*/ 47 w 1122"/>
                <a:gd name="T43" fmla="*/ 3 h 140"/>
                <a:gd name="T44" fmla="*/ 69 w 1122"/>
                <a:gd name="T4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22" h="140">
                  <a:moveTo>
                    <a:pt x="69" y="0"/>
                  </a:moveTo>
                  <a:lnTo>
                    <a:pt x="1052" y="0"/>
                  </a:lnTo>
                  <a:lnTo>
                    <a:pt x="1074" y="3"/>
                  </a:lnTo>
                  <a:lnTo>
                    <a:pt x="1094" y="13"/>
                  </a:lnTo>
                  <a:lnTo>
                    <a:pt x="1108" y="28"/>
                  </a:lnTo>
                  <a:lnTo>
                    <a:pt x="1118" y="48"/>
                  </a:lnTo>
                  <a:lnTo>
                    <a:pt x="1122" y="70"/>
                  </a:lnTo>
                  <a:lnTo>
                    <a:pt x="1118" y="92"/>
                  </a:lnTo>
                  <a:lnTo>
                    <a:pt x="1108" y="111"/>
                  </a:lnTo>
                  <a:lnTo>
                    <a:pt x="1094" y="127"/>
                  </a:lnTo>
                  <a:lnTo>
                    <a:pt x="1074" y="137"/>
                  </a:lnTo>
                  <a:lnTo>
                    <a:pt x="1052" y="140"/>
                  </a:lnTo>
                  <a:lnTo>
                    <a:pt x="69" y="140"/>
                  </a:lnTo>
                  <a:lnTo>
                    <a:pt x="47" y="137"/>
                  </a:lnTo>
                  <a:lnTo>
                    <a:pt x="28" y="127"/>
                  </a:lnTo>
                  <a:lnTo>
                    <a:pt x="12" y="111"/>
                  </a:lnTo>
                  <a:lnTo>
                    <a:pt x="2" y="92"/>
                  </a:lnTo>
                  <a:lnTo>
                    <a:pt x="0" y="70"/>
                  </a:lnTo>
                  <a:lnTo>
                    <a:pt x="2" y="48"/>
                  </a:lnTo>
                  <a:lnTo>
                    <a:pt x="12" y="28"/>
                  </a:lnTo>
                  <a:lnTo>
                    <a:pt x="28" y="13"/>
                  </a:lnTo>
                  <a:lnTo>
                    <a:pt x="47" y="3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B0C8ED"/>
            </a:solidFill>
            <a:ln w="0">
              <a:solidFill>
                <a:srgbClr val="B0C8E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4867" y="1471"/>
              <a:ext cx="561" cy="461"/>
            </a:xfrm>
            <a:custGeom>
              <a:avLst/>
              <a:gdLst>
                <a:gd name="T0" fmla="*/ 281 w 2246"/>
                <a:gd name="T1" fmla="*/ 0 h 1846"/>
                <a:gd name="T2" fmla="*/ 1965 w 2246"/>
                <a:gd name="T3" fmla="*/ 0 h 1846"/>
                <a:gd name="T4" fmla="*/ 2011 w 2246"/>
                <a:gd name="T5" fmla="*/ 4 h 1846"/>
                <a:gd name="T6" fmla="*/ 2053 w 2246"/>
                <a:gd name="T7" fmla="*/ 15 h 1846"/>
                <a:gd name="T8" fmla="*/ 2094 w 2246"/>
                <a:gd name="T9" fmla="*/ 33 h 1846"/>
                <a:gd name="T10" fmla="*/ 2131 w 2246"/>
                <a:gd name="T11" fmla="*/ 55 h 1846"/>
                <a:gd name="T12" fmla="*/ 2163 w 2246"/>
                <a:gd name="T13" fmla="*/ 83 h 1846"/>
                <a:gd name="T14" fmla="*/ 2191 w 2246"/>
                <a:gd name="T15" fmla="*/ 117 h 1846"/>
                <a:gd name="T16" fmla="*/ 2214 w 2246"/>
                <a:gd name="T17" fmla="*/ 152 h 1846"/>
                <a:gd name="T18" fmla="*/ 2231 w 2246"/>
                <a:gd name="T19" fmla="*/ 193 h 1846"/>
                <a:gd name="T20" fmla="*/ 2242 w 2246"/>
                <a:gd name="T21" fmla="*/ 236 h 1846"/>
                <a:gd name="T22" fmla="*/ 2246 w 2246"/>
                <a:gd name="T23" fmla="*/ 282 h 1846"/>
                <a:gd name="T24" fmla="*/ 2246 w 2246"/>
                <a:gd name="T25" fmla="*/ 1264 h 1846"/>
                <a:gd name="T26" fmla="*/ 2242 w 2246"/>
                <a:gd name="T27" fmla="*/ 1308 h 1846"/>
                <a:gd name="T28" fmla="*/ 2231 w 2246"/>
                <a:gd name="T29" fmla="*/ 1352 h 1846"/>
                <a:gd name="T30" fmla="*/ 2214 w 2246"/>
                <a:gd name="T31" fmla="*/ 1392 h 1846"/>
                <a:gd name="T32" fmla="*/ 2191 w 2246"/>
                <a:gd name="T33" fmla="*/ 1428 h 1846"/>
                <a:gd name="T34" fmla="*/ 2163 w 2246"/>
                <a:gd name="T35" fmla="*/ 1462 h 1846"/>
                <a:gd name="T36" fmla="*/ 2131 w 2246"/>
                <a:gd name="T37" fmla="*/ 1490 h 1846"/>
                <a:gd name="T38" fmla="*/ 2094 w 2246"/>
                <a:gd name="T39" fmla="*/ 1512 h 1846"/>
                <a:gd name="T40" fmla="*/ 2053 w 2246"/>
                <a:gd name="T41" fmla="*/ 1530 h 1846"/>
                <a:gd name="T42" fmla="*/ 2011 w 2246"/>
                <a:gd name="T43" fmla="*/ 1541 h 1846"/>
                <a:gd name="T44" fmla="*/ 1965 w 2246"/>
                <a:gd name="T45" fmla="*/ 1544 h 1846"/>
                <a:gd name="T46" fmla="*/ 1544 w 2246"/>
                <a:gd name="T47" fmla="*/ 1544 h 1846"/>
                <a:gd name="T48" fmla="*/ 1253 w 2246"/>
                <a:gd name="T49" fmla="*/ 1835 h 1846"/>
                <a:gd name="T50" fmla="*/ 1241 w 2246"/>
                <a:gd name="T51" fmla="*/ 1843 h 1846"/>
                <a:gd name="T52" fmla="*/ 1227 w 2246"/>
                <a:gd name="T53" fmla="*/ 1846 h 1846"/>
                <a:gd name="T54" fmla="*/ 1215 w 2246"/>
                <a:gd name="T55" fmla="*/ 1842 h 1846"/>
                <a:gd name="T56" fmla="*/ 1204 w 2246"/>
                <a:gd name="T57" fmla="*/ 1836 h 1846"/>
                <a:gd name="T58" fmla="*/ 1195 w 2246"/>
                <a:gd name="T59" fmla="*/ 1825 h 1846"/>
                <a:gd name="T60" fmla="*/ 1193 w 2246"/>
                <a:gd name="T61" fmla="*/ 1810 h 1846"/>
                <a:gd name="T62" fmla="*/ 1193 w 2246"/>
                <a:gd name="T63" fmla="*/ 1544 h 1846"/>
                <a:gd name="T64" fmla="*/ 281 w 2246"/>
                <a:gd name="T65" fmla="*/ 1544 h 1846"/>
                <a:gd name="T66" fmla="*/ 235 w 2246"/>
                <a:gd name="T67" fmla="*/ 1541 h 1846"/>
                <a:gd name="T68" fmla="*/ 192 w 2246"/>
                <a:gd name="T69" fmla="*/ 1530 h 1846"/>
                <a:gd name="T70" fmla="*/ 152 w 2246"/>
                <a:gd name="T71" fmla="*/ 1512 h 1846"/>
                <a:gd name="T72" fmla="*/ 115 w 2246"/>
                <a:gd name="T73" fmla="*/ 1490 h 1846"/>
                <a:gd name="T74" fmla="*/ 83 w 2246"/>
                <a:gd name="T75" fmla="*/ 1462 h 1846"/>
                <a:gd name="T76" fmla="*/ 54 w 2246"/>
                <a:gd name="T77" fmla="*/ 1428 h 1846"/>
                <a:gd name="T78" fmla="*/ 31 w 2246"/>
                <a:gd name="T79" fmla="*/ 1392 h 1846"/>
                <a:gd name="T80" fmla="*/ 14 w 2246"/>
                <a:gd name="T81" fmla="*/ 1352 h 1846"/>
                <a:gd name="T82" fmla="*/ 4 w 2246"/>
                <a:gd name="T83" fmla="*/ 1308 h 1846"/>
                <a:gd name="T84" fmla="*/ 0 w 2246"/>
                <a:gd name="T85" fmla="*/ 1264 h 1846"/>
                <a:gd name="T86" fmla="*/ 0 w 2246"/>
                <a:gd name="T87" fmla="*/ 282 h 1846"/>
                <a:gd name="T88" fmla="*/ 4 w 2246"/>
                <a:gd name="T89" fmla="*/ 236 h 1846"/>
                <a:gd name="T90" fmla="*/ 14 w 2246"/>
                <a:gd name="T91" fmla="*/ 193 h 1846"/>
                <a:gd name="T92" fmla="*/ 31 w 2246"/>
                <a:gd name="T93" fmla="*/ 152 h 1846"/>
                <a:gd name="T94" fmla="*/ 54 w 2246"/>
                <a:gd name="T95" fmla="*/ 117 h 1846"/>
                <a:gd name="T96" fmla="*/ 83 w 2246"/>
                <a:gd name="T97" fmla="*/ 83 h 1846"/>
                <a:gd name="T98" fmla="*/ 115 w 2246"/>
                <a:gd name="T99" fmla="*/ 55 h 1846"/>
                <a:gd name="T100" fmla="*/ 152 w 2246"/>
                <a:gd name="T101" fmla="*/ 33 h 1846"/>
                <a:gd name="T102" fmla="*/ 192 w 2246"/>
                <a:gd name="T103" fmla="*/ 15 h 1846"/>
                <a:gd name="T104" fmla="*/ 235 w 2246"/>
                <a:gd name="T105" fmla="*/ 4 h 1846"/>
                <a:gd name="T106" fmla="*/ 281 w 2246"/>
                <a:gd name="T107" fmla="*/ 0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46" h="1846">
                  <a:moveTo>
                    <a:pt x="281" y="0"/>
                  </a:moveTo>
                  <a:lnTo>
                    <a:pt x="1965" y="0"/>
                  </a:lnTo>
                  <a:lnTo>
                    <a:pt x="2011" y="4"/>
                  </a:lnTo>
                  <a:lnTo>
                    <a:pt x="2053" y="15"/>
                  </a:lnTo>
                  <a:lnTo>
                    <a:pt x="2094" y="33"/>
                  </a:lnTo>
                  <a:lnTo>
                    <a:pt x="2131" y="55"/>
                  </a:lnTo>
                  <a:lnTo>
                    <a:pt x="2163" y="83"/>
                  </a:lnTo>
                  <a:lnTo>
                    <a:pt x="2191" y="117"/>
                  </a:lnTo>
                  <a:lnTo>
                    <a:pt x="2214" y="152"/>
                  </a:lnTo>
                  <a:lnTo>
                    <a:pt x="2231" y="193"/>
                  </a:lnTo>
                  <a:lnTo>
                    <a:pt x="2242" y="236"/>
                  </a:lnTo>
                  <a:lnTo>
                    <a:pt x="2246" y="282"/>
                  </a:lnTo>
                  <a:lnTo>
                    <a:pt x="2246" y="1264"/>
                  </a:lnTo>
                  <a:lnTo>
                    <a:pt x="2242" y="1308"/>
                  </a:lnTo>
                  <a:lnTo>
                    <a:pt x="2231" y="1352"/>
                  </a:lnTo>
                  <a:lnTo>
                    <a:pt x="2214" y="1392"/>
                  </a:lnTo>
                  <a:lnTo>
                    <a:pt x="2191" y="1428"/>
                  </a:lnTo>
                  <a:lnTo>
                    <a:pt x="2163" y="1462"/>
                  </a:lnTo>
                  <a:lnTo>
                    <a:pt x="2131" y="1490"/>
                  </a:lnTo>
                  <a:lnTo>
                    <a:pt x="2094" y="1512"/>
                  </a:lnTo>
                  <a:lnTo>
                    <a:pt x="2053" y="1530"/>
                  </a:lnTo>
                  <a:lnTo>
                    <a:pt x="2011" y="1541"/>
                  </a:lnTo>
                  <a:lnTo>
                    <a:pt x="1965" y="1544"/>
                  </a:lnTo>
                  <a:lnTo>
                    <a:pt x="1544" y="1544"/>
                  </a:lnTo>
                  <a:lnTo>
                    <a:pt x="1253" y="1835"/>
                  </a:lnTo>
                  <a:lnTo>
                    <a:pt x="1241" y="1843"/>
                  </a:lnTo>
                  <a:lnTo>
                    <a:pt x="1227" y="1846"/>
                  </a:lnTo>
                  <a:lnTo>
                    <a:pt x="1215" y="1842"/>
                  </a:lnTo>
                  <a:lnTo>
                    <a:pt x="1204" y="1836"/>
                  </a:lnTo>
                  <a:lnTo>
                    <a:pt x="1195" y="1825"/>
                  </a:lnTo>
                  <a:lnTo>
                    <a:pt x="1193" y="1810"/>
                  </a:lnTo>
                  <a:lnTo>
                    <a:pt x="1193" y="1544"/>
                  </a:lnTo>
                  <a:lnTo>
                    <a:pt x="281" y="1544"/>
                  </a:lnTo>
                  <a:lnTo>
                    <a:pt x="235" y="1541"/>
                  </a:lnTo>
                  <a:lnTo>
                    <a:pt x="192" y="1530"/>
                  </a:lnTo>
                  <a:lnTo>
                    <a:pt x="152" y="1512"/>
                  </a:lnTo>
                  <a:lnTo>
                    <a:pt x="115" y="1490"/>
                  </a:lnTo>
                  <a:lnTo>
                    <a:pt x="83" y="1462"/>
                  </a:lnTo>
                  <a:lnTo>
                    <a:pt x="54" y="1428"/>
                  </a:lnTo>
                  <a:lnTo>
                    <a:pt x="31" y="1392"/>
                  </a:lnTo>
                  <a:lnTo>
                    <a:pt x="14" y="1352"/>
                  </a:lnTo>
                  <a:lnTo>
                    <a:pt x="4" y="1308"/>
                  </a:lnTo>
                  <a:lnTo>
                    <a:pt x="0" y="1264"/>
                  </a:lnTo>
                  <a:lnTo>
                    <a:pt x="0" y="282"/>
                  </a:lnTo>
                  <a:lnTo>
                    <a:pt x="4" y="236"/>
                  </a:lnTo>
                  <a:lnTo>
                    <a:pt x="14" y="193"/>
                  </a:lnTo>
                  <a:lnTo>
                    <a:pt x="31" y="152"/>
                  </a:lnTo>
                  <a:lnTo>
                    <a:pt x="54" y="117"/>
                  </a:lnTo>
                  <a:lnTo>
                    <a:pt x="83" y="83"/>
                  </a:lnTo>
                  <a:lnTo>
                    <a:pt x="115" y="55"/>
                  </a:lnTo>
                  <a:lnTo>
                    <a:pt x="152" y="33"/>
                  </a:lnTo>
                  <a:lnTo>
                    <a:pt x="192" y="15"/>
                  </a:lnTo>
                  <a:lnTo>
                    <a:pt x="235" y="4"/>
                  </a:lnTo>
                  <a:lnTo>
                    <a:pt x="281" y="0"/>
                  </a:lnTo>
                  <a:close/>
                </a:path>
              </a:pathLst>
            </a:custGeom>
            <a:solidFill>
              <a:srgbClr val="E8F3FF"/>
            </a:solidFill>
            <a:ln w="0">
              <a:solidFill>
                <a:srgbClr val="E8F3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4937" y="1541"/>
              <a:ext cx="88" cy="35"/>
            </a:xfrm>
            <a:custGeom>
              <a:avLst/>
              <a:gdLst>
                <a:gd name="T0" fmla="*/ 70 w 351"/>
                <a:gd name="T1" fmla="*/ 0 h 140"/>
                <a:gd name="T2" fmla="*/ 280 w 351"/>
                <a:gd name="T3" fmla="*/ 0 h 140"/>
                <a:gd name="T4" fmla="*/ 302 w 351"/>
                <a:gd name="T5" fmla="*/ 2 h 140"/>
                <a:gd name="T6" fmla="*/ 322 w 351"/>
                <a:gd name="T7" fmla="*/ 14 h 140"/>
                <a:gd name="T8" fmla="*/ 337 w 351"/>
                <a:gd name="T9" fmla="*/ 28 h 140"/>
                <a:gd name="T10" fmla="*/ 347 w 351"/>
                <a:gd name="T11" fmla="*/ 47 h 140"/>
                <a:gd name="T12" fmla="*/ 351 w 351"/>
                <a:gd name="T13" fmla="*/ 69 h 140"/>
                <a:gd name="T14" fmla="*/ 347 w 351"/>
                <a:gd name="T15" fmla="*/ 91 h 140"/>
                <a:gd name="T16" fmla="*/ 337 w 351"/>
                <a:gd name="T17" fmla="*/ 111 h 140"/>
                <a:gd name="T18" fmla="*/ 322 w 351"/>
                <a:gd name="T19" fmla="*/ 126 h 140"/>
                <a:gd name="T20" fmla="*/ 302 w 351"/>
                <a:gd name="T21" fmla="*/ 136 h 140"/>
                <a:gd name="T22" fmla="*/ 280 w 351"/>
                <a:gd name="T23" fmla="*/ 140 h 140"/>
                <a:gd name="T24" fmla="*/ 70 w 351"/>
                <a:gd name="T25" fmla="*/ 140 h 140"/>
                <a:gd name="T26" fmla="*/ 48 w 351"/>
                <a:gd name="T27" fmla="*/ 136 h 140"/>
                <a:gd name="T28" fmla="*/ 28 w 351"/>
                <a:gd name="T29" fmla="*/ 126 h 140"/>
                <a:gd name="T30" fmla="*/ 13 w 351"/>
                <a:gd name="T31" fmla="*/ 111 h 140"/>
                <a:gd name="T32" fmla="*/ 3 w 351"/>
                <a:gd name="T33" fmla="*/ 91 h 140"/>
                <a:gd name="T34" fmla="*/ 0 w 351"/>
                <a:gd name="T35" fmla="*/ 69 h 140"/>
                <a:gd name="T36" fmla="*/ 3 w 351"/>
                <a:gd name="T37" fmla="*/ 47 h 140"/>
                <a:gd name="T38" fmla="*/ 13 w 351"/>
                <a:gd name="T39" fmla="*/ 28 h 140"/>
                <a:gd name="T40" fmla="*/ 28 w 351"/>
                <a:gd name="T41" fmla="*/ 14 h 140"/>
                <a:gd name="T42" fmla="*/ 48 w 351"/>
                <a:gd name="T43" fmla="*/ 2 h 140"/>
                <a:gd name="T44" fmla="*/ 70 w 351"/>
                <a:gd name="T4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1" h="140">
                  <a:moveTo>
                    <a:pt x="70" y="0"/>
                  </a:moveTo>
                  <a:lnTo>
                    <a:pt x="280" y="0"/>
                  </a:lnTo>
                  <a:lnTo>
                    <a:pt x="302" y="2"/>
                  </a:lnTo>
                  <a:lnTo>
                    <a:pt x="322" y="14"/>
                  </a:lnTo>
                  <a:lnTo>
                    <a:pt x="337" y="28"/>
                  </a:lnTo>
                  <a:lnTo>
                    <a:pt x="347" y="47"/>
                  </a:lnTo>
                  <a:lnTo>
                    <a:pt x="351" y="69"/>
                  </a:lnTo>
                  <a:lnTo>
                    <a:pt x="347" y="91"/>
                  </a:lnTo>
                  <a:lnTo>
                    <a:pt x="337" y="111"/>
                  </a:lnTo>
                  <a:lnTo>
                    <a:pt x="322" y="126"/>
                  </a:lnTo>
                  <a:lnTo>
                    <a:pt x="302" y="136"/>
                  </a:lnTo>
                  <a:lnTo>
                    <a:pt x="280" y="140"/>
                  </a:lnTo>
                  <a:lnTo>
                    <a:pt x="70" y="140"/>
                  </a:lnTo>
                  <a:lnTo>
                    <a:pt x="48" y="136"/>
                  </a:lnTo>
                  <a:lnTo>
                    <a:pt x="28" y="126"/>
                  </a:lnTo>
                  <a:lnTo>
                    <a:pt x="13" y="111"/>
                  </a:lnTo>
                  <a:lnTo>
                    <a:pt x="3" y="91"/>
                  </a:lnTo>
                  <a:lnTo>
                    <a:pt x="0" y="69"/>
                  </a:lnTo>
                  <a:lnTo>
                    <a:pt x="3" y="47"/>
                  </a:lnTo>
                  <a:lnTo>
                    <a:pt x="13" y="28"/>
                  </a:lnTo>
                  <a:lnTo>
                    <a:pt x="28" y="14"/>
                  </a:lnTo>
                  <a:lnTo>
                    <a:pt x="48" y="2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B0C8ED"/>
            </a:solidFill>
            <a:ln w="0">
              <a:solidFill>
                <a:srgbClr val="B0C8E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3"/>
            <p:cNvSpPr>
              <a:spLocks/>
            </p:cNvSpPr>
            <p:nvPr/>
          </p:nvSpPr>
          <p:spPr bwMode="auto">
            <a:xfrm>
              <a:off x="5060" y="1541"/>
              <a:ext cx="298" cy="35"/>
            </a:xfrm>
            <a:custGeom>
              <a:avLst/>
              <a:gdLst>
                <a:gd name="T0" fmla="*/ 71 w 1194"/>
                <a:gd name="T1" fmla="*/ 0 h 140"/>
                <a:gd name="T2" fmla="*/ 1124 w 1194"/>
                <a:gd name="T3" fmla="*/ 0 h 140"/>
                <a:gd name="T4" fmla="*/ 1146 w 1194"/>
                <a:gd name="T5" fmla="*/ 2 h 140"/>
                <a:gd name="T6" fmla="*/ 1166 w 1194"/>
                <a:gd name="T7" fmla="*/ 14 h 140"/>
                <a:gd name="T8" fmla="*/ 1181 w 1194"/>
                <a:gd name="T9" fmla="*/ 28 h 140"/>
                <a:gd name="T10" fmla="*/ 1191 w 1194"/>
                <a:gd name="T11" fmla="*/ 47 h 140"/>
                <a:gd name="T12" fmla="*/ 1194 w 1194"/>
                <a:gd name="T13" fmla="*/ 69 h 140"/>
                <a:gd name="T14" fmla="*/ 1191 w 1194"/>
                <a:gd name="T15" fmla="*/ 91 h 140"/>
                <a:gd name="T16" fmla="*/ 1181 w 1194"/>
                <a:gd name="T17" fmla="*/ 111 h 140"/>
                <a:gd name="T18" fmla="*/ 1166 w 1194"/>
                <a:gd name="T19" fmla="*/ 126 h 140"/>
                <a:gd name="T20" fmla="*/ 1146 w 1194"/>
                <a:gd name="T21" fmla="*/ 136 h 140"/>
                <a:gd name="T22" fmla="*/ 1124 w 1194"/>
                <a:gd name="T23" fmla="*/ 140 h 140"/>
                <a:gd name="T24" fmla="*/ 71 w 1194"/>
                <a:gd name="T25" fmla="*/ 140 h 140"/>
                <a:gd name="T26" fmla="*/ 48 w 1194"/>
                <a:gd name="T27" fmla="*/ 136 h 140"/>
                <a:gd name="T28" fmla="*/ 30 w 1194"/>
                <a:gd name="T29" fmla="*/ 126 h 140"/>
                <a:gd name="T30" fmla="*/ 14 w 1194"/>
                <a:gd name="T31" fmla="*/ 111 h 140"/>
                <a:gd name="T32" fmla="*/ 4 w 1194"/>
                <a:gd name="T33" fmla="*/ 91 h 140"/>
                <a:gd name="T34" fmla="*/ 0 w 1194"/>
                <a:gd name="T35" fmla="*/ 69 h 140"/>
                <a:gd name="T36" fmla="*/ 4 w 1194"/>
                <a:gd name="T37" fmla="*/ 47 h 140"/>
                <a:gd name="T38" fmla="*/ 14 w 1194"/>
                <a:gd name="T39" fmla="*/ 28 h 140"/>
                <a:gd name="T40" fmla="*/ 30 w 1194"/>
                <a:gd name="T41" fmla="*/ 14 h 140"/>
                <a:gd name="T42" fmla="*/ 48 w 1194"/>
                <a:gd name="T43" fmla="*/ 2 h 140"/>
                <a:gd name="T44" fmla="*/ 71 w 1194"/>
                <a:gd name="T4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94" h="140">
                  <a:moveTo>
                    <a:pt x="71" y="0"/>
                  </a:moveTo>
                  <a:lnTo>
                    <a:pt x="1124" y="0"/>
                  </a:lnTo>
                  <a:lnTo>
                    <a:pt x="1146" y="2"/>
                  </a:lnTo>
                  <a:lnTo>
                    <a:pt x="1166" y="14"/>
                  </a:lnTo>
                  <a:lnTo>
                    <a:pt x="1181" y="28"/>
                  </a:lnTo>
                  <a:lnTo>
                    <a:pt x="1191" y="47"/>
                  </a:lnTo>
                  <a:lnTo>
                    <a:pt x="1194" y="69"/>
                  </a:lnTo>
                  <a:lnTo>
                    <a:pt x="1191" y="91"/>
                  </a:lnTo>
                  <a:lnTo>
                    <a:pt x="1181" y="111"/>
                  </a:lnTo>
                  <a:lnTo>
                    <a:pt x="1166" y="126"/>
                  </a:lnTo>
                  <a:lnTo>
                    <a:pt x="1146" y="136"/>
                  </a:lnTo>
                  <a:lnTo>
                    <a:pt x="1124" y="140"/>
                  </a:lnTo>
                  <a:lnTo>
                    <a:pt x="71" y="140"/>
                  </a:lnTo>
                  <a:lnTo>
                    <a:pt x="48" y="136"/>
                  </a:lnTo>
                  <a:lnTo>
                    <a:pt x="30" y="126"/>
                  </a:lnTo>
                  <a:lnTo>
                    <a:pt x="14" y="111"/>
                  </a:lnTo>
                  <a:lnTo>
                    <a:pt x="4" y="91"/>
                  </a:lnTo>
                  <a:lnTo>
                    <a:pt x="0" y="69"/>
                  </a:lnTo>
                  <a:lnTo>
                    <a:pt x="4" y="47"/>
                  </a:lnTo>
                  <a:lnTo>
                    <a:pt x="14" y="28"/>
                  </a:lnTo>
                  <a:lnTo>
                    <a:pt x="30" y="14"/>
                  </a:lnTo>
                  <a:lnTo>
                    <a:pt x="48" y="2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CBDDF6"/>
            </a:solidFill>
            <a:ln w="0">
              <a:solidFill>
                <a:srgbClr val="CBDDF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4"/>
            <p:cNvSpPr>
              <a:spLocks/>
            </p:cNvSpPr>
            <p:nvPr/>
          </p:nvSpPr>
          <p:spPr bwMode="auto">
            <a:xfrm>
              <a:off x="4937" y="1611"/>
              <a:ext cx="421" cy="35"/>
            </a:xfrm>
            <a:custGeom>
              <a:avLst/>
              <a:gdLst>
                <a:gd name="T0" fmla="*/ 70 w 1684"/>
                <a:gd name="T1" fmla="*/ 0 h 140"/>
                <a:gd name="T2" fmla="*/ 1614 w 1684"/>
                <a:gd name="T3" fmla="*/ 0 h 140"/>
                <a:gd name="T4" fmla="*/ 1636 w 1684"/>
                <a:gd name="T5" fmla="*/ 4 h 140"/>
                <a:gd name="T6" fmla="*/ 1656 w 1684"/>
                <a:gd name="T7" fmla="*/ 14 h 140"/>
                <a:gd name="T8" fmla="*/ 1671 w 1684"/>
                <a:gd name="T9" fmla="*/ 29 h 140"/>
                <a:gd name="T10" fmla="*/ 1681 w 1684"/>
                <a:gd name="T11" fmla="*/ 49 h 140"/>
                <a:gd name="T12" fmla="*/ 1684 w 1684"/>
                <a:gd name="T13" fmla="*/ 70 h 140"/>
                <a:gd name="T14" fmla="*/ 1681 w 1684"/>
                <a:gd name="T15" fmla="*/ 92 h 140"/>
                <a:gd name="T16" fmla="*/ 1671 w 1684"/>
                <a:gd name="T17" fmla="*/ 112 h 140"/>
                <a:gd name="T18" fmla="*/ 1656 w 1684"/>
                <a:gd name="T19" fmla="*/ 126 h 140"/>
                <a:gd name="T20" fmla="*/ 1636 w 1684"/>
                <a:gd name="T21" fmla="*/ 136 h 140"/>
                <a:gd name="T22" fmla="*/ 1614 w 1684"/>
                <a:gd name="T23" fmla="*/ 140 h 140"/>
                <a:gd name="T24" fmla="*/ 70 w 1684"/>
                <a:gd name="T25" fmla="*/ 140 h 140"/>
                <a:gd name="T26" fmla="*/ 48 w 1684"/>
                <a:gd name="T27" fmla="*/ 136 h 140"/>
                <a:gd name="T28" fmla="*/ 28 w 1684"/>
                <a:gd name="T29" fmla="*/ 126 h 140"/>
                <a:gd name="T30" fmla="*/ 13 w 1684"/>
                <a:gd name="T31" fmla="*/ 112 h 140"/>
                <a:gd name="T32" fmla="*/ 3 w 1684"/>
                <a:gd name="T33" fmla="*/ 92 h 140"/>
                <a:gd name="T34" fmla="*/ 0 w 1684"/>
                <a:gd name="T35" fmla="*/ 70 h 140"/>
                <a:gd name="T36" fmla="*/ 3 w 1684"/>
                <a:gd name="T37" fmla="*/ 49 h 140"/>
                <a:gd name="T38" fmla="*/ 13 w 1684"/>
                <a:gd name="T39" fmla="*/ 29 h 140"/>
                <a:gd name="T40" fmla="*/ 28 w 1684"/>
                <a:gd name="T41" fmla="*/ 14 h 140"/>
                <a:gd name="T42" fmla="*/ 48 w 1684"/>
                <a:gd name="T43" fmla="*/ 4 h 140"/>
                <a:gd name="T44" fmla="*/ 70 w 1684"/>
                <a:gd name="T4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4" h="140">
                  <a:moveTo>
                    <a:pt x="70" y="0"/>
                  </a:moveTo>
                  <a:lnTo>
                    <a:pt x="1614" y="0"/>
                  </a:lnTo>
                  <a:lnTo>
                    <a:pt x="1636" y="4"/>
                  </a:lnTo>
                  <a:lnTo>
                    <a:pt x="1656" y="14"/>
                  </a:lnTo>
                  <a:lnTo>
                    <a:pt x="1671" y="29"/>
                  </a:lnTo>
                  <a:lnTo>
                    <a:pt x="1681" y="49"/>
                  </a:lnTo>
                  <a:lnTo>
                    <a:pt x="1684" y="70"/>
                  </a:lnTo>
                  <a:lnTo>
                    <a:pt x="1681" y="92"/>
                  </a:lnTo>
                  <a:lnTo>
                    <a:pt x="1671" y="112"/>
                  </a:lnTo>
                  <a:lnTo>
                    <a:pt x="1656" y="126"/>
                  </a:lnTo>
                  <a:lnTo>
                    <a:pt x="1636" y="136"/>
                  </a:lnTo>
                  <a:lnTo>
                    <a:pt x="1614" y="140"/>
                  </a:lnTo>
                  <a:lnTo>
                    <a:pt x="70" y="140"/>
                  </a:lnTo>
                  <a:lnTo>
                    <a:pt x="48" y="136"/>
                  </a:lnTo>
                  <a:lnTo>
                    <a:pt x="28" y="126"/>
                  </a:lnTo>
                  <a:lnTo>
                    <a:pt x="13" y="112"/>
                  </a:lnTo>
                  <a:lnTo>
                    <a:pt x="3" y="92"/>
                  </a:lnTo>
                  <a:lnTo>
                    <a:pt x="0" y="70"/>
                  </a:lnTo>
                  <a:lnTo>
                    <a:pt x="3" y="49"/>
                  </a:lnTo>
                  <a:lnTo>
                    <a:pt x="13" y="29"/>
                  </a:lnTo>
                  <a:lnTo>
                    <a:pt x="28" y="14"/>
                  </a:lnTo>
                  <a:lnTo>
                    <a:pt x="48" y="4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CBDDF6"/>
            </a:solidFill>
            <a:ln w="0">
              <a:solidFill>
                <a:srgbClr val="CBDDF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5"/>
            <p:cNvSpPr>
              <a:spLocks/>
            </p:cNvSpPr>
            <p:nvPr/>
          </p:nvSpPr>
          <p:spPr bwMode="auto">
            <a:xfrm>
              <a:off x="5271" y="1681"/>
              <a:ext cx="87" cy="35"/>
            </a:xfrm>
            <a:custGeom>
              <a:avLst/>
              <a:gdLst>
                <a:gd name="T0" fmla="*/ 71 w 351"/>
                <a:gd name="T1" fmla="*/ 0 h 139"/>
                <a:gd name="T2" fmla="*/ 281 w 351"/>
                <a:gd name="T3" fmla="*/ 0 h 139"/>
                <a:gd name="T4" fmla="*/ 303 w 351"/>
                <a:gd name="T5" fmla="*/ 3 h 139"/>
                <a:gd name="T6" fmla="*/ 323 w 351"/>
                <a:gd name="T7" fmla="*/ 13 h 139"/>
                <a:gd name="T8" fmla="*/ 338 w 351"/>
                <a:gd name="T9" fmla="*/ 28 h 139"/>
                <a:gd name="T10" fmla="*/ 348 w 351"/>
                <a:gd name="T11" fmla="*/ 48 h 139"/>
                <a:gd name="T12" fmla="*/ 351 w 351"/>
                <a:gd name="T13" fmla="*/ 70 h 139"/>
                <a:gd name="T14" fmla="*/ 348 w 351"/>
                <a:gd name="T15" fmla="*/ 92 h 139"/>
                <a:gd name="T16" fmla="*/ 338 w 351"/>
                <a:gd name="T17" fmla="*/ 111 h 139"/>
                <a:gd name="T18" fmla="*/ 323 w 351"/>
                <a:gd name="T19" fmla="*/ 126 h 139"/>
                <a:gd name="T20" fmla="*/ 303 w 351"/>
                <a:gd name="T21" fmla="*/ 137 h 139"/>
                <a:gd name="T22" fmla="*/ 281 w 351"/>
                <a:gd name="T23" fmla="*/ 139 h 139"/>
                <a:gd name="T24" fmla="*/ 71 w 351"/>
                <a:gd name="T25" fmla="*/ 139 h 139"/>
                <a:gd name="T26" fmla="*/ 48 w 351"/>
                <a:gd name="T27" fmla="*/ 137 h 139"/>
                <a:gd name="T28" fmla="*/ 29 w 351"/>
                <a:gd name="T29" fmla="*/ 126 h 139"/>
                <a:gd name="T30" fmla="*/ 14 w 351"/>
                <a:gd name="T31" fmla="*/ 111 h 139"/>
                <a:gd name="T32" fmla="*/ 4 w 351"/>
                <a:gd name="T33" fmla="*/ 92 h 139"/>
                <a:gd name="T34" fmla="*/ 0 w 351"/>
                <a:gd name="T35" fmla="*/ 70 h 139"/>
                <a:gd name="T36" fmla="*/ 4 w 351"/>
                <a:gd name="T37" fmla="*/ 48 h 139"/>
                <a:gd name="T38" fmla="*/ 14 w 351"/>
                <a:gd name="T39" fmla="*/ 28 h 139"/>
                <a:gd name="T40" fmla="*/ 29 w 351"/>
                <a:gd name="T41" fmla="*/ 13 h 139"/>
                <a:gd name="T42" fmla="*/ 48 w 351"/>
                <a:gd name="T43" fmla="*/ 3 h 139"/>
                <a:gd name="T44" fmla="*/ 71 w 351"/>
                <a:gd name="T45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1" h="139">
                  <a:moveTo>
                    <a:pt x="71" y="0"/>
                  </a:moveTo>
                  <a:lnTo>
                    <a:pt x="281" y="0"/>
                  </a:lnTo>
                  <a:lnTo>
                    <a:pt x="303" y="3"/>
                  </a:lnTo>
                  <a:lnTo>
                    <a:pt x="323" y="13"/>
                  </a:lnTo>
                  <a:lnTo>
                    <a:pt x="338" y="28"/>
                  </a:lnTo>
                  <a:lnTo>
                    <a:pt x="348" y="48"/>
                  </a:lnTo>
                  <a:lnTo>
                    <a:pt x="351" y="70"/>
                  </a:lnTo>
                  <a:lnTo>
                    <a:pt x="348" y="92"/>
                  </a:lnTo>
                  <a:lnTo>
                    <a:pt x="338" y="111"/>
                  </a:lnTo>
                  <a:lnTo>
                    <a:pt x="323" y="126"/>
                  </a:lnTo>
                  <a:lnTo>
                    <a:pt x="303" y="137"/>
                  </a:lnTo>
                  <a:lnTo>
                    <a:pt x="281" y="139"/>
                  </a:lnTo>
                  <a:lnTo>
                    <a:pt x="71" y="139"/>
                  </a:lnTo>
                  <a:lnTo>
                    <a:pt x="48" y="137"/>
                  </a:lnTo>
                  <a:lnTo>
                    <a:pt x="29" y="126"/>
                  </a:lnTo>
                  <a:lnTo>
                    <a:pt x="14" y="111"/>
                  </a:lnTo>
                  <a:lnTo>
                    <a:pt x="4" y="92"/>
                  </a:lnTo>
                  <a:lnTo>
                    <a:pt x="0" y="70"/>
                  </a:lnTo>
                  <a:lnTo>
                    <a:pt x="4" y="48"/>
                  </a:lnTo>
                  <a:lnTo>
                    <a:pt x="14" y="28"/>
                  </a:lnTo>
                  <a:lnTo>
                    <a:pt x="29" y="13"/>
                  </a:lnTo>
                  <a:lnTo>
                    <a:pt x="48" y="3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B0C8ED"/>
            </a:solidFill>
            <a:ln w="0">
              <a:solidFill>
                <a:srgbClr val="B0C8E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6"/>
            <p:cNvSpPr>
              <a:spLocks/>
            </p:cNvSpPr>
            <p:nvPr/>
          </p:nvSpPr>
          <p:spPr bwMode="auto">
            <a:xfrm>
              <a:off x="4937" y="1681"/>
              <a:ext cx="298" cy="35"/>
            </a:xfrm>
            <a:custGeom>
              <a:avLst/>
              <a:gdLst>
                <a:gd name="T0" fmla="*/ 70 w 1192"/>
                <a:gd name="T1" fmla="*/ 0 h 139"/>
                <a:gd name="T2" fmla="*/ 1123 w 1192"/>
                <a:gd name="T3" fmla="*/ 0 h 139"/>
                <a:gd name="T4" fmla="*/ 1144 w 1192"/>
                <a:gd name="T5" fmla="*/ 3 h 139"/>
                <a:gd name="T6" fmla="*/ 1164 w 1192"/>
                <a:gd name="T7" fmla="*/ 13 h 139"/>
                <a:gd name="T8" fmla="*/ 1179 w 1192"/>
                <a:gd name="T9" fmla="*/ 28 h 139"/>
                <a:gd name="T10" fmla="*/ 1189 w 1192"/>
                <a:gd name="T11" fmla="*/ 48 h 139"/>
                <a:gd name="T12" fmla="*/ 1192 w 1192"/>
                <a:gd name="T13" fmla="*/ 70 h 139"/>
                <a:gd name="T14" fmla="*/ 1189 w 1192"/>
                <a:gd name="T15" fmla="*/ 92 h 139"/>
                <a:gd name="T16" fmla="*/ 1179 w 1192"/>
                <a:gd name="T17" fmla="*/ 111 h 139"/>
                <a:gd name="T18" fmla="*/ 1164 w 1192"/>
                <a:gd name="T19" fmla="*/ 126 h 139"/>
                <a:gd name="T20" fmla="*/ 1144 w 1192"/>
                <a:gd name="T21" fmla="*/ 137 h 139"/>
                <a:gd name="T22" fmla="*/ 1123 w 1192"/>
                <a:gd name="T23" fmla="*/ 139 h 139"/>
                <a:gd name="T24" fmla="*/ 70 w 1192"/>
                <a:gd name="T25" fmla="*/ 139 h 139"/>
                <a:gd name="T26" fmla="*/ 48 w 1192"/>
                <a:gd name="T27" fmla="*/ 137 h 139"/>
                <a:gd name="T28" fmla="*/ 28 w 1192"/>
                <a:gd name="T29" fmla="*/ 126 h 139"/>
                <a:gd name="T30" fmla="*/ 13 w 1192"/>
                <a:gd name="T31" fmla="*/ 111 h 139"/>
                <a:gd name="T32" fmla="*/ 3 w 1192"/>
                <a:gd name="T33" fmla="*/ 92 h 139"/>
                <a:gd name="T34" fmla="*/ 0 w 1192"/>
                <a:gd name="T35" fmla="*/ 70 h 139"/>
                <a:gd name="T36" fmla="*/ 3 w 1192"/>
                <a:gd name="T37" fmla="*/ 48 h 139"/>
                <a:gd name="T38" fmla="*/ 13 w 1192"/>
                <a:gd name="T39" fmla="*/ 28 h 139"/>
                <a:gd name="T40" fmla="*/ 28 w 1192"/>
                <a:gd name="T41" fmla="*/ 13 h 139"/>
                <a:gd name="T42" fmla="*/ 48 w 1192"/>
                <a:gd name="T43" fmla="*/ 3 h 139"/>
                <a:gd name="T44" fmla="*/ 70 w 1192"/>
                <a:gd name="T45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92" h="139">
                  <a:moveTo>
                    <a:pt x="70" y="0"/>
                  </a:moveTo>
                  <a:lnTo>
                    <a:pt x="1123" y="0"/>
                  </a:lnTo>
                  <a:lnTo>
                    <a:pt x="1144" y="3"/>
                  </a:lnTo>
                  <a:lnTo>
                    <a:pt x="1164" y="13"/>
                  </a:lnTo>
                  <a:lnTo>
                    <a:pt x="1179" y="28"/>
                  </a:lnTo>
                  <a:lnTo>
                    <a:pt x="1189" y="48"/>
                  </a:lnTo>
                  <a:lnTo>
                    <a:pt x="1192" y="70"/>
                  </a:lnTo>
                  <a:lnTo>
                    <a:pt x="1189" y="92"/>
                  </a:lnTo>
                  <a:lnTo>
                    <a:pt x="1179" y="111"/>
                  </a:lnTo>
                  <a:lnTo>
                    <a:pt x="1164" y="126"/>
                  </a:lnTo>
                  <a:lnTo>
                    <a:pt x="1144" y="137"/>
                  </a:lnTo>
                  <a:lnTo>
                    <a:pt x="1123" y="139"/>
                  </a:lnTo>
                  <a:lnTo>
                    <a:pt x="70" y="139"/>
                  </a:lnTo>
                  <a:lnTo>
                    <a:pt x="48" y="137"/>
                  </a:lnTo>
                  <a:lnTo>
                    <a:pt x="28" y="126"/>
                  </a:lnTo>
                  <a:lnTo>
                    <a:pt x="13" y="111"/>
                  </a:lnTo>
                  <a:lnTo>
                    <a:pt x="3" y="92"/>
                  </a:lnTo>
                  <a:lnTo>
                    <a:pt x="0" y="70"/>
                  </a:lnTo>
                  <a:lnTo>
                    <a:pt x="3" y="48"/>
                  </a:lnTo>
                  <a:lnTo>
                    <a:pt x="13" y="28"/>
                  </a:lnTo>
                  <a:lnTo>
                    <a:pt x="28" y="13"/>
                  </a:lnTo>
                  <a:lnTo>
                    <a:pt x="48" y="3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CBDDF6"/>
            </a:solidFill>
            <a:ln w="0">
              <a:solidFill>
                <a:srgbClr val="CBDDF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7"/>
            <p:cNvSpPr>
              <a:spLocks/>
            </p:cNvSpPr>
            <p:nvPr/>
          </p:nvSpPr>
          <p:spPr bwMode="auto">
            <a:xfrm>
              <a:off x="4937" y="1752"/>
              <a:ext cx="421" cy="35"/>
            </a:xfrm>
            <a:custGeom>
              <a:avLst/>
              <a:gdLst>
                <a:gd name="T0" fmla="*/ 70 w 1684"/>
                <a:gd name="T1" fmla="*/ 0 h 141"/>
                <a:gd name="T2" fmla="*/ 1614 w 1684"/>
                <a:gd name="T3" fmla="*/ 0 h 141"/>
                <a:gd name="T4" fmla="*/ 1636 w 1684"/>
                <a:gd name="T5" fmla="*/ 4 h 141"/>
                <a:gd name="T6" fmla="*/ 1656 w 1684"/>
                <a:gd name="T7" fmla="*/ 14 h 141"/>
                <a:gd name="T8" fmla="*/ 1671 w 1684"/>
                <a:gd name="T9" fmla="*/ 29 h 141"/>
                <a:gd name="T10" fmla="*/ 1681 w 1684"/>
                <a:gd name="T11" fmla="*/ 48 h 141"/>
                <a:gd name="T12" fmla="*/ 1684 w 1684"/>
                <a:gd name="T13" fmla="*/ 71 h 141"/>
                <a:gd name="T14" fmla="*/ 1681 w 1684"/>
                <a:gd name="T15" fmla="*/ 93 h 141"/>
                <a:gd name="T16" fmla="*/ 1671 w 1684"/>
                <a:gd name="T17" fmla="*/ 111 h 141"/>
                <a:gd name="T18" fmla="*/ 1656 w 1684"/>
                <a:gd name="T19" fmla="*/ 127 h 141"/>
                <a:gd name="T20" fmla="*/ 1636 w 1684"/>
                <a:gd name="T21" fmla="*/ 137 h 141"/>
                <a:gd name="T22" fmla="*/ 1614 w 1684"/>
                <a:gd name="T23" fmla="*/ 141 h 141"/>
                <a:gd name="T24" fmla="*/ 70 w 1684"/>
                <a:gd name="T25" fmla="*/ 141 h 141"/>
                <a:gd name="T26" fmla="*/ 48 w 1684"/>
                <a:gd name="T27" fmla="*/ 137 h 141"/>
                <a:gd name="T28" fmla="*/ 28 w 1684"/>
                <a:gd name="T29" fmla="*/ 127 h 141"/>
                <a:gd name="T30" fmla="*/ 13 w 1684"/>
                <a:gd name="T31" fmla="*/ 111 h 141"/>
                <a:gd name="T32" fmla="*/ 3 w 1684"/>
                <a:gd name="T33" fmla="*/ 93 h 141"/>
                <a:gd name="T34" fmla="*/ 0 w 1684"/>
                <a:gd name="T35" fmla="*/ 71 h 141"/>
                <a:gd name="T36" fmla="*/ 3 w 1684"/>
                <a:gd name="T37" fmla="*/ 48 h 141"/>
                <a:gd name="T38" fmla="*/ 13 w 1684"/>
                <a:gd name="T39" fmla="*/ 29 h 141"/>
                <a:gd name="T40" fmla="*/ 28 w 1684"/>
                <a:gd name="T41" fmla="*/ 14 h 141"/>
                <a:gd name="T42" fmla="*/ 48 w 1684"/>
                <a:gd name="T43" fmla="*/ 4 h 141"/>
                <a:gd name="T44" fmla="*/ 70 w 1684"/>
                <a:gd name="T45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4" h="141">
                  <a:moveTo>
                    <a:pt x="70" y="0"/>
                  </a:moveTo>
                  <a:lnTo>
                    <a:pt x="1614" y="0"/>
                  </a:lnTo>
                  <a:lnTo>
                    <a:pt x="1636" y="4"/>
                  </a:lnTo>
                  <a:lnTo>
                    <a:pt x="1656" y="14"/>
                  </a:lnTo>
                  <a:lnTo>
                    <a:pt x="1671" y="29"/>
                  </a:lnTo>
                  <a:lnTo>
                    <a:pt x="1681" y="48"/>
                  </a:lnTo>
                  <a:lnTo>
                    <a:pt x="1684" y="71"/>
                  </a:lnTo>
                  <a:lnTo>
                    <a:pt x="1681" y="93"/>
                  </a:lnTo>
                  <a:lnTo>
                    <a:pt x="1671" y="111"/>
                  </a:lnTo>
                  <a:lnTo>
                    <a:pt x="1656" y="127"/>
                  </a:lnTo>
                  <a:lnTo>
                    <a:pt x="1636" y="137"/>
                  </a:lnTo>
                  <a:lnTo>
                    <a:pt x="1614" y="141"/>
                  </a:lnTo>
                  <a:lnTo>
                    <a:pt x="70" y="141"/>
                  </a:lnTo>
                  <a:lnTo>
                    <a:pt x="48" y="137"/>
                  </a:lnTo>
                  <a:lnTo>
                    <a:pt x="28" y="127"/>
                  </a:lnTo>
                  <a:lnTo>
                    <a:pt x="13" y="111"/>
                  </a:lnTo>
                  <a:lnTo>
                    <a:pt x="3" y="93"/>
                  </a:lnTo>
                  <a:lnTo>
                    <a:pt x="0" y="71"/>
                  </a:lnTo>
                  <a:lnTo>
                    <a:pt x="3" y="48"/>
                  </a:lnTo>
                  <a:lnTo>
                    <a:pt x="13" y="29"/>
                  </a:lnTo>
                  <a:lnTo>
                    <a:pt x="28" y="14"/>
                  </a:lnTo>
                  <a:lnTo>
                    <a:pt x="48" y="4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CBDDF6"/>
            </a:solidFill>
            <a:ln w="0">
              <a:solidFill>
                <a:srgbClr val="CBDDF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8"/>
            <p:cNvSpPr>
              <a:spLocks/>
            </p:cNvSpPr>
            <p:nvPr/>
          </p:nvSpPr>
          <p:spPr bwMode="auto">
            <a:xfrm>
              <a:off x="5022" y="2294"/>
              <a:ext cx="146" cy="121"/>
            </a:xfrm>
            <a:custGeom>
              <a:avLst/>
              <a:gdLst>
                <a:gd name="T0" fmla="*/ 0 w 584"/>
                <a:gd name="T1" fmla="*/ 0 h 486"/>
                <a:gd name="T2" fmla="*/ 584 w 584"/>
                <a:gd name="T3" fmla="*/ 0 h 486"/>
                <a:gd name="T4" fmla="*/ 584 w 584"/>
                <a:gd name="T5" fmla="*/ 226 h 486"/>
                <a:gd name="T6" fmla="*/ 292 w 584"/>
                <a:gd name="T7" fmla="*/ 486 h 486"/>
                <a:gd name="T8" fmla="*/ 0 w 584"/>
                <a:gd name="T9" fmla="*/ 226 h 486"/>
                <a:gd name="T10" fmla="*/ 0 w 584"/>
                <a:gd name="T11" fmla="*/ 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4" h="486">
                  <a:moveTo>
                    <a:pt x="0" y="0"/>
                  </a:moveTo>
                  <a:lnTo>
                    <a:pt x="584" y="0"/>
                  </a:lnTo>
                  <a:lnTo>
                    <a:pt x="584" y="226"/>
                  </a:lnTo>
                  <a:lnTo>
                    <a:pt x="292" y="486"/>
                  </a:lnTo>
                  <a:lnTo>
                    <a:pt x="0" y="22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AB6B"/>
            </a:solidFill>
            <a:ln w="0">
              <a:solidFill>
                <a:srgbClr val="E8AB6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9"/>
            <p:cNvSpPr>
              <a:spLocks/>
            </p:cNvSpPr>
            <p:nvPr/>
          </p:nvSpPr>
          <p:spPr bwMode="auto">
            <a:xfrm>
              <a:off x="4885" y="2349"/>
              <a:ext cx="420" cy="139"/>
            </a:xfrm>
            <a:custGeom>
              <a:avLst/>
              <a:gdLst>
                <a:gd name="T0" fmla="*/ 531 w 1684"/>
                <a:gd name="T1" fmla="*/ 0 h 555"/>
                <a:gd name="T2" fmla="*/ 842 w 1684"/>
                <a:gd name="T3" fmla="*/ 199 h 555"/>
                <a:gd name="T4" fmla="*/ 1167 w 1684"/>
                <a:gd name="T5" fmla="*/ 9 h 555"/>
                <a:gd name="T6" fmla="*/ 1175 w 1684"/>
                <a:gd name="T7" fmla="*/ 14 h 555"/>
                <a:gd name="T8" fmla="*/ 1183 w 1684"/>
                <a:gd name="T9" fmla="*/ 16 h 555"/>
                <a:gd name="T10" fmla="*/ 1585 w 1684"/>
                <a:gd name="T11" fmla="*/ 110 h 555"/>
                <a:gd name="T12" fmla="*/ 1612 w 1684"/>
                <a:gd name="T13" fmla="*/ 120 h 555"/>
                <a:gd name="T14" fmla="*/ 1637 w 1684"/>
                <a:gd name="T15" fmla="*/ 136 h 555"/>
                <a:gd name="T16" fmla="*/ 1657 w 1684"/>
                <a:gd name="T17" fmla="*/ 156 h 555"/>
                <a:gd name="T18" fmla="*/ 1672 w 1684"/>
                <a:gd name="T19" fmla="*/ 181 h 555"/>
                <a:gd name="T20" fmla="*/ 1681 w 1684"/>
                <a:gd name="T21" fmla="*/ 208 h 555"/>
                <a:gd name="T22" fmla="*/ 1684 w 1684"/>
                <a:gd name="T23" fmla="*/ 236 h 555"/>
                <a:gd name="T24" fmla="*/ 1684 w 1684"/>
                <a:gd name="T25" fmla="*/ 491 h 555"/>
                <a:gd name="T26" fmla="*/ 1681 w 1684"/>
                <a:gd name="T27" fmla="*/ 511 h 555"/>
                <a:gd name="T28" fmla="*/ 1672 w 1684"/>
                <a:gd name="T29" fmla="*/ 529 h 555"/>
                <a:gd name="T30" fmla="*/ 1658 w 1684"/>
                <a:gd name="T31" fmla="*/ 543 h 555"/>
                <a:gd name="T32" fmla="*/ 1641 w 1684"/>
                <a:gd name="T33" fmla="*/ 551 h 555"/>
                <a:gd name="T34" fmla="*/ 1620 w 1684"/>
                <a:gd name="T35" fmla="*/ 555 h 555"/>
                <a:gd name="T36" fmla="*/ 65 w 1684"/>
                <a:gd name="T37" fmla="*/ 555 h 555"/>
                <a:gd name="T38" fmla="*/ 44 w 1684"/>
                <a:gd name="T39" fmla="*/ 551 h 555"/>
                <a:gd name="T40" fmla="*/ 26 w 1684"/>
                <a:gd name="T41" fmla="*/ 543 h 555"/>
                <a:gd name="T42" fmla="*/ 13 w 1684"/>
                <a:gd name="T43" fmla="*/ 529 h 555"/>
                <a:gd name="T44" fmla="*/ 3 w 1684"/>
                <a:gd name="T45" fmla="*/ 511 h 555"/>
                <a:gd name="T46" fmla="*/ 0 w 1684"/>
                <a:gd name="T47" fmla="*/ 491 h 555"/>
                <a:gd name="T48" fmla="*/ 0 w 1684"/>
                <a:gd name="T49" fmla="*/ 236 h 555"/>
                <a:gd name="T50" fmla="*/ 3 w 1684"/>
                <a:gd name="T51" fmla="*/ 208 h 555"/>
                <a:gd name="T52" fmla="*/ 13 w 1684"/>
                <a:gd name="T53" fmla="*/ 181 h 555"/>
                <a:gd name="T54" fmla="*/ 28 w 1684"/>
                <a:gd name="T55" fmla="*/ 156 h 555"/>
                <a:gd name="T56" fmla="*/ 47 w 1684"/>
                <a:gd name="T57" fmla="*/ 136 h 555"/>
                <a:gd name="T58" fmla="*/ 72 w 1684"/>
                <a:gd name="T59" fmla="*/ 120 h 555"/>
                <a:gd name="T60" fmla="*/ 99 w 1684"/>
                <a:gd name="T61" fmla="*/ 110 h 555"/>
                <a:gd name="T62" fmla="*/ 501 w 1684"/>
                <a:gd name="T63" fmla="*/ 16 h 555"/>
                <a:gd name="T64" fmla="*/ 517 w 1684"/>
                <a:gd name="T65" fmla="*/ 10 h 555"/>
                <a:gd name="T66" fmla="*/ 531 w 1684"/>
                <a:gd name="T67" fmla="*/ 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84" h="555">
                  <a:moveTo>
                    <a:pt x="531" y="0"/>
                  </a:moveTo>
                  <a:lnTo>
                    <a:pt x="842" y="199"/>
                  </a:lnTo>
                  <a:lnTo>
                    <a:pt x="1167" y="9"/>
                  </a:lnTo>
                  <a:lnTo>
                    <a:pt x="1175" y="14"/>
                  </a:lnTo>
                  <a:lnTo>
                    <a:pt x="1183" y="16"/>
                  </a:lnTo>
                  <a:lnTo>
                    <a:pt x="1585" y="110"/>
                  </a:lnTo>
                  <a:lnTo>
                    <a:pt x="1612" y="120"/>
                  </a:lnTo>
                  <a:lnTo>
                    <a:pt x="1637" y="136"/>
                  </a:lnTo>
                  <a:lnTo>
                    <a:pt x="1657" y="156"/>
                  </a:lnTo>
                  <a:lnTo>
                    <a:pt x="1672" y="181"/>
                  </a:lnTo>
                  <a:lnTo>
                    <a:pt x="1681" y="208"/>
                  </a:lnTo>
                  <a:lnTo>
                    <a:pt x="1684" y="236"/>
                  </a:lnTo>
                  <a:lnTo>
                    <a:pt x="1684" y="491"/>
                  </a:lnTo>
                  <a:lnTo>
                    <a:pt x="1681" y="511"/>
                  </a:lnTo>
                  <a:lnTo>
                    <a:pt x="1672" y="529"/>
                  </a:lnTo>
                  <a:lnTo>
                    <a:pt x="1658" y="543"/>
                  </a:lnTo>
                  <a:lnTo>
                    <a:pt x="1641" y="551"/>
                  </a:lnTo>
                  <a:lnTo>
                    <a:pt x="1620" y="555"/>
                  </a:lnTo>
                  <a:lnTo>
                    <a:pt x="65" y="555"/>
                  </a:lnTo>
                  <a:lnTo>
                    <a:pt x="44" y="551"/>
                  </a:lnTo>
                  <a:lnTo>
                    <a:pt x="26" y="543"/>
                  </a:lnTo>
                  <a:lnTo>
                    <a:pt x="13" y="529"/>
                  </a:lnTo>
                  <a:lnTo>
                    <a:pt x="3" y="511"/>
                  </a:lnTo>
                  <a:lnTo>
                    <a:pt x="0" y="491"/>
                  </a:lnTo>
                  <a:lnTo>
                    <a:pt x="0" y="236"/>
                  </a:lnTo>
                  <a:lnTo>
                    <a:pt x="3" y="208"/>
                  </a:lnTo>
                  <a:lnTo>
                    <a:pt x="13" y="181"/>
                  </a:lnTo>
                  <a:lnTo>
                    <a:pt x="28" y="156"/>
                  </a:lnTo>
                  <a:lnTo>
                    <a:pt x="47" y="136"/>
                  </a:lnTo>
                  <a:lnTo>
                    <a:pt x="72" y="120"/>
                  </a:lnTo>
                  <a:lnTo>
                    <a:pt x="99" y="110"/>
                  </a:lnTo>
                  <a:lnTo>
                    <a:pt x="501" y="16"/>
                  </a:lnTo>
                  <a:lnTo>
                    <a:pt x="517" y="10"/>
                  </a:lnTo>
                  <a:lnTo>
                    <a:pt x="531" y="0"/>
                  </a:lnTo>
                  <a:close/>
                </a:path>
              </a:pathLst>
            </a:custGeom>
            <a:solidFill>
              <a:srgbClr val="F4F9FF"/>
            </a:solidFill>
            <a:ln w="0">
              <a:solidFill>
                <a:srgbClr val="F4F9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0"/>
            <p:cNvSpPr>
              <a:spLocks/>
            </p:cNvSpPr>
            <p:nvPr/>
          </p:nvSpPr>
          <p:spPr bwMode="auto">
            <a:xfrm>
              <a:off x="5022" y="2294"/>
              <a:ext cx="146" cy="67"/>
            </a:xfrm>
            <a:custGeom>
              <a:avLst/>
              <a:gdLst>
                <a:gd name="T0" fmla="*/ 0 w 584"/>
                <a:gd name="T1" fmla="*/ 0 h 271"/>
                <a:gd name="T2" fmla="*/ 584 w 584"/>
                <a:gd name="T3" fmla="*/ 0 h 271"/>
                <a:gd name="T4" fmla="*/ 584 w 584"/>
                <a:gd name="T5" fmla="*/ 41 h 271"/>
                <a:gd name="T6" fmla="*/ 583 w 584"/>
                <a:gd name="T7" fmla="*/ 43 h 271"/>
                <a:gd name="T8" fmla="*/ 578 w 584"/>
                <a:gd name="T9" fmla="*/ 49 h 271"/>
                <a:gd name="T10" fmla="*/ 569 w 584"/>
                <a:gd name="T11" fmla="*/ 61 h 271"/>
                <a:gd name="T12" fmla="*/ 558 w 584"/>
                <a:gd name="T13" fmla="*/ 74 h 271"/>
                <a:gd name="T14" fmla="*/ 544 w 584"/>
                <a:gd name="T15" fmla="*/ 90 h 271"/>
                <a:gd name="T16" fmla="*/ 527 w 584"/>
                <a:gd name="T17" fmla="*/ 109 h 271"/>
                <a:gd name="T18" fmla="*/ 507 w 584"/>
                <a:gd name="T19" fmla="*/ 129 h 271"/>
                <a:gd name="T20" fmla="*/ 484 w 584"/>
                <a:gd name="T21" fmla="*/ 148 h 271"/>
                <a:gd name="T22" fmla="*/ 459 w 584"/>
                <a:gd name="T23" fmla="*/ 169 h 271"/>
                <a:gd name="T24" fmla="*/ 429 w 584"/>
                <a:gd name="T25" fmla="*/ 189 h 271"/>
                <a:gd name="T26" fmla="*/ 398 w 584"/>
                <a:gd name="T27" fmla="*/ 209 h 271"/>
                <a:gd name="T28" fmla="*/ 365 w 584"/>
                <a:gd name="T29" fmla="*/ 226 h 271"/>
                <a:gd name="T30" fmla="*/ 328 w 584"/>
                <a:gd name="T31" fmla="*/ 242 h 271"/>
                <a:gd name="T32" fmla="*/ 288 w 584"/>
                <a:gd name="T33" fmla="*/ 255 h 271"/>
                <a:gd name="T34" fmla="*/ 246 w 584"/>
                <a:gd name="T35" fmla="*/ 264 h 271"/>
                <a:gd name="T36" fmla="*/ 202 w 584"/>
                <a:gd name="T37" fmla="*/ 269 h 271"/>
                <a:gd name="T38" fmla="*/ 155 w 584"/>
                <a:gd name="T39" fmla="*/ 271 h 271"/>
                <a:gd name="T40" fmla="*/ 107 w 584"/>
                <a:gd name="T41" fmla="*/ 266 h 271"/>
                <a:gd name="T42" fmla="*/ 55 w 584"/>
                <a:gd name="T43" fmla="*/ 256 h 271"/>
                <a:gd name="T44" fmla="*/ 0 w 584"/>
                <a:gd name="T45" fmla="*/ 240 h 271"/>
                <a:gd name="T46" fmla="*/ 0 w 584"/>
                <a:gd name="T47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4" h="271">
                  <a:moveTo>
                    <a:pt x="0" y="0"/>
                  </a:moveTo>
                  <a:lnTo>
                    <a:pt x="584" y="0"/>
                  </a:lnTo>
                  <a:lnTo>
                    <a:pt x="584" y="41"/>
                  </a:lnTo>
                  <a:lnTo>
                    <a:pt x="583" y="43"/>
                  </a:lnTo>
                  <a:lnTo>
                    <a:pt x="578" y="49"/>
                  </a:lnTo>
                  <a:lnTo>
                    <a:pt x="569" y="61"/>
                  </a:lnTo>
                  <a:lnTo>
                    <a:pt x="558" y="74"/>
                  </a:lnTo>
                  <a:lnTo>
                    <a:pt x="544" y="90"/>
                  </a:lnTo>
                  <a:lnTo>
                    <a:pt x="527" y="109"/>
                  </a:lnTo>
                  <a:lnTo>
                    <a:pt x="507" y="129"/>
                  </a:lnTo>
                  <a:lnTo>
                    <a:pt x="484" y="148"/>
                  </a:lnTo>
                  <a:lnTo>
                    <a:pt x="459" y="169"/>
                  </a:lnTo>
                  <a:lnTo>
                    <a:pt x="429" y="189"/>
                  </a:lnTo>
                  <a:lnTo>
                    <a:pt x="398" y="209"/>
                  </a:lnTo>
                  <a:lnTo>
                    <a:pt x="365" y="226"/>
                  </a:lnTo>
                  <a:lnTo>
                    <a:pt x="328" y="242"/>
                  </a:lnTo>
                  <a:lnTo>
                    <a:pt x="288" y="255"/>
                  </a:lnTo>
                  <a:lnTo>
                    <a:pt x="246" y="264"/>
                  </a:lnTo>
                  <a:lnTo>
                    <a:pt x="202" y="269"/>
                  </a:lnTo>
                  <a:lnTo>
                    <a:pt x="155" y="271"/>
                  </a:lnTo>
                  <a:lnTo>
                    <a:pt x="107" y="266"/>
                  </a:lnTo>
                  <a:lnTo>
                    <a:pt x="55" y="256"/>
                  </a:lnTo>
                  <a:lnTo>
                    <a:pt x="0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9460"/>
            </a:solidFill>
            <a:ln w="0">
              <a:solidFill>
                <a:srgbClr val="D2946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1"/>
            <p:cNvSpPr>
              <a:spLocks/>
            </p:cNvSpPr>
            <p:nvPr/>
          </p:nvSpPr>
          <p:spPr bwMode="auto">
            <a:xfrm>
              <a:off x="4990" y="2108"/>
              <a:ext cx="210" cy="226"/>
            </a:xfrm>
            <a:custGeom>
              <a:avLst/>
              <a:gdLst>
                <a:gd name="T0" fmla="*/ 0 w 843"/>
                <a:gd name="T1" fmla="*/ 0 h 907"/>
                <a:gd name="T2" fmla="*/ 843 w 843"/>
                <a:gd name="T3" fmla="*/ 0 h 907"/>
                <a:gd name="T4" fmla="*/ 814 w 843"/>
                <a:gd name="T5" fmla="*/ 622 h 907"/>
                <a:gd name="T6" fmla="*/ 809 w 843"/>
                <a:gd name="T7" fmla="*/ 655 h 907"/>
                <a:gd name="T8" fmla="*/ 799 w 843"/>
                <a:gd name="T9" fmla="*/ 688 h 907"/>
                <a:gd name="T10" fmla="*/ 783 w 843"/>
                <a:gd name="T11" fmla="*/ 718 h 907"/>
                <a:gd name="T12" fmla="*/ 762 w 843"/>
                <a:gd name="T13" fmla="*/ 745 h 907"/>
                <a:gd name="T14" fmla="*/ 736 w 843"/>
                <a:gd name="T15" fmla="*/ 767 h 907"/>
                <a:gd name="T16" fmla="*/ 603 w 843"/>
                <a:gd name="T17" fmla="*/ 869 h 907"/>
                <a:gd name="T18" fmla="*/ 576 w 843"/>
                <a:gd name="T19" fmla="*/ 885 h 907"/>
                <a:gd name="T20" fmla="*/ 547 w 843"/>
                <a:gd name="T21" fmla="*/ 897 h 907"/>
                <a:gd name="T22" fmla="*/ 518 w 843"/>
                <a:gd name="T23" fmla="*/ 904 h 907"/>
                <a:gd name="T24" fmla="*/ 485 w 843"/>
                <a:gd name="T25" fmla="*/ 907 h 907"/>
                <a:gd name="T26" fmla="*/ 357 w 843"/>
                <a:gd name="T27" fmla="*/ 907 h 907"/>
                <a:gd name="T28" fmla="*/ 325 w 843"/>
                <a:gd name="T29" fmla="*/ 904 h 907"/>
                <a:gd name="T30" fmla="*/ 295 w 843"/>
                <a:gd name="T31" fmla="*/ 897 h 907"/>
                <a:gd name="T32" fmla="*/ 267 w 843"/>
                <a:gd name="T33" fmla="*/ 885 h 907"/>
                <a:gd name="T34" fmla="*/ 239 w 843"/>
                <a:gd name="T35" fmla="*/ 869 h 907"/>
                <a:gd name="T36" fmla="*/ 106 w 843"/>
                <a:gd name="T37" fmla="*/ 767 h 907"/>
                <a:gd name="T38" fmla="*/ 80 w 843"/>
                <a:gd name="T39" fmla="*/ 745 h 907"/>
                <a:gd name="T40" fmla="*/ 59 w 843"/>
                <a:gd name="T41" fmla="*/ 718 h 907"/>
                <a:gd name="T42" fmla="*/ 43 w 843"/>
                <a:gd name="T43" fmla="*/ 688 h 907"/>
                <a:gd name="T44" fmla="*/ 33 w 843"/>
                <a:gd name="T45" fmla="*/ 655 h 907"/>
                <a:gd name="T46" fmla="*/ 28 w 843"/>
                <a:gd name="T47" fmla="*/ 622 h 907"/>
                <a:gd name="T48" fmla="*/ 0 w 843"/>
                <a:gd name="T49" fmla="*/ 0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3" h="907">
                  <a:moveTo>
                    <a:pt x="0" y="0"/>
                  </a:moveTo>
                  <a:lnTo>
                    <a:pt x="843" y="0"/>
                  </a:lnTo>
                  <a:lnTo>
                    <a:pt x="814" y="622"/>
                  </a:lnTo>
                  <a:lnTo>
                    <a:pt x="809" y="655"/>
                  </a:lnTo>
                  <a:lnTo>
                    <a:pt x="799" y="688"/>
                  </a:lnTo>
                  <a:lnTo>
                    <a:pt x="783" y="718"/>
                  </a:lnTo>
                  <a:lnTo>
                    <a:pt x="762" y="745"/>
                  </a:lnTo>
                  <a:lnTo>
                    <a:pt x="736" y="767"/>
                  </a:lnTo>
                  <a:lnTo>
                    <a:pt x="603" y="869"/>
                  </a:lnTo>
                  <a:lnTo>
                    <a:pt x="576" y="885"/>
                  </a:lnTo>
                  <a:lnTo>
                    <a:pt x="547" y="897"/>
                  </a:lnTo>
                  <a:lnTo>
                    <a:pt x="518" y="904"/>
                  </a:lnTo>
                  <a:lnTo>
                    <a:pt x="485" y="907"/>
                  </a:lnTo>
                  <a:lnTo>
                    <a:pt x="357" y="907"/>
                  </a:lnTo>
                  <a:lnTo>
                    <a:pt x="325" y="904"/>
                  </a:lnTo>
                  <a:lnTo>
                    <a:pt x="295" y="897"/>
                  </a:lnTo>
                  <a:lnTo>
                    <a:pt x="267" y="885"/>
                  </a:lnTo>
                  <a:lnTo>
                    <a:pt x="239" y="869"/>
                  </a:lnTo>
                  <a:lnTo>
                    <a:pt x="106" y="767"/>
                  </a:lnTo>
                  <a:lnTo>
                    <a:pt x="80" y="745"/>
                  </a:lnTo>
                  <a:lnTo>
                    <a:pt x="59" y="718"/>
                  </a:lnTo>
                  <a:lnTo>
                    <a:pt x="43" y="688"/>
                  </a:lnTo>
                  <a:lnTo>
                    <a:pt x="33" y="655"/>
                  </a:lnTo>
                  <a:lnTo>
                    <a:pt x="28" y="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BD7B"/>
            </a:solidFill>
            <a:ln w="0">
              <a:solidFill>
                <a:srgbClr val="F2BD7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2"/>
            <p:cNvSpPr>
              <a:spLocks/>
            </p:cNvSpPr>
            <p:nvPr/>
          </p:nvSpPr>
          <p:spPr bwMode="auto">
            <a:xfrm>
              <a:off x="4990" y="2108"/>
              <a:ext cx="173" cy="226"/>
            </a:xfrm>
            <a:custGeom>
              <a:avLst/>
              <a:gdLst>
                <a:gd name="T0" fmla="*/ 0 w 694"/>
                <a:gd name="T1" fmla="*/ 0 h 907"/>
                <a:gd name="T2" fmla="*/ 694 w 694"/>
                <a:gd name="T3" fmla="*/ 0 h 907"/>
                <a:gd name="T4" fmla="*/ 679 w 694"/>
                <a:gd name="T5" fmla="*/ 24 h 907"/>
                <a:gd name="T6" fmla="*/ 660 w 694"/>
                <a:gd name="T7" fmla="*/ 44 h 907"/>
                <a:gd name="T8" fmla="*/ 635 w 694"/>
                <a:gd name="T9" fmla="*/ 62 h 907"/>
                <a:gd name="T10" fmla="*/ 607 w 694"/>
                <a:gd name="T11" fmla="*/ 77 h 907"/>
                <a:gd name="T12" fmla="*/ 574 w 694"/>
                <a:gd name="T13" fmla="*/ 90 h 907"/>
                <a:gd name="T14" fmla="*/ 540 w 694"/>
                <a:gd name="T15" fmla="*/ 102 h 907"/>
                <a:gd name="T16" fmla="*/ 504 w 694"/>
                <a:gd name="T17" fmla="*/ 110 h 907"/>
                <a:gd name="T18" fmla="*/ 467 w 694"/>
                <a:gd name="T19" fmla="*/ 118 h 907"/>
                <a:gd name="T20" fmla="*/ 430 w 694"/>
                <a:gd name="T21" fmla="*/ 124 h 907"/>
                <a:gd name="T22" fmla="*/ 393 w 694"/>
                <a:gd name="T23" fmla="*/ 128 h 907"/>
                <a:gd name="T24" fmla="*/ 358 w 694"/>
                <a:gd name="T25" fmla="*/ 129 h 907"/>
                <a:gd name="T26" fmla="*/ 324 w 694"/>
                <a:gd name="T27" fmla="*/ 130 h 907"/>
                <a:gd name="T28" fmla="*/ 301 w 694"/>
                <a:gd name="T29" fmla="*/ 132 h 907"/>
                <a:gd name="T30" fmla="*/ 281 w 694"/>
                <a:gd name="T31" fmla="*/ 141 h 907"/>
                <a:gd name="T32" fmla="*/ 264 w 694"/>
                <a:gd name="T33" fmla="*/ 152 h 907"/>
                <a:gd name="T34" fmla="*/ 251 w 694"/>
                <a:gd name="T35" fmla="*/ 167 h 907"/>
                <a:gd name="T36" fmla="*/ 241 w 694"/>
                <a:gd name="T37" fmla="*/ 182 h 907"/>
                <a:gd name="T38" fmla="*/ 233 w 694"/>
                <a:gd name="T39" fmla="*/ 198 h 907"/>
                <a:gd name="T40" fmla="*/ 228 w 694"/>
                <a:gd name="T41" fmla="*/ 214 h 907"/>
                <a:gd name="T42" fmla="*/ 227 w 694"/>
                <a:gd name="T43" fmla="*/ 228 h 907"/>
                <a:gd name="T44" fmla="*/ 227 w 694"/>
                <a:gd name="T45" fmla="*/ 263 h 907"/>
                <a:gd name="T46" fmla="*/ 227 w 694"/>
                <a:gd name="T47" fmla="*/ 307 h 907"/>
                <a:gd name="T48" fmla="*/ 227 w 694"/>
                <a:gd name="T49" fmla="*/ 354 h 907"/>
                <a:gd name="T50" fmla="*/ 227 w 694"/>
                <a:gd name="T51" fmla="*/ 403 h 907"/>
                <a:gd name="T52" fmla="*/ 227 w 694"/>
                <a:gd name="T53" fmla="*/ 454 h 907"/>
                <a:gd name="T54" fmla="*/ 227 w 694"/>
                <a:gd name="T55" fmla="*/ 502 h 907"/>
                <a:gd name="T56" fmla="*/ 227 w 694"/>
                <a:gd name="T57" fmla="*/ 546 h 907"/>
                <a:gd name="T58" fmla="*/ 227 w 694"/>
                <a:gd name="T59" fmla="*/ 585 h 907"/>
                <a:gd name="T60" fmla="*/ 227 w 694"/>
                <a:gd name="T61" fmla="*/ 615 h 907"/>
                <a:gd name="T62" fmla="*/ 230 w 694"/>
                <a:gd name="T63" fmla="*/ 659 h 907"/>
                <a:gd name="T64" fmla="*/ 238 w 694"/>
                <a:gd name="T65" fmla="*/ 701 h 907"/>
                <a:gd name="T66" fmla="*/ 252 w 694"/>
                <a:gd name="T67" fmla="*/ 739 h 907"/>
                <a:gd name="T68" fmla="*/ 269 w 694"/>
                <a:gd name="T69" fmla="*/ 775 h 907"/>
                <a:gd name="T70" fmla="*/ 289 w 694"/>
                <a:gd name="T71" fmla="*/ 807 h 907"/>
                <a:gd name="T72" fmla="*/ 311 w 694"/>
                <a:gd name="T73" fmla="*/ 835 h 907"/>
                <a:gd name="T74" fmla="*/ 335 w 694"/>
                <a:gd name="T75" fmla="*/ 860 h 907"/>
                <a:gd name="T76" fmla="*/ 358 w 694"/>
                <a:gd name="T77" fmla="*/ 880 h 907"/>
                <a:gd name="T78" fmla="*/ 380 w 694"/>
                <a:gd name="T79" fmla="*/ 895 h 907"/>
                <a:gd name="T80" fmla="*/ 403 w 694"/>
                <a:gd name="T81" fmla="*/ 903 h 907"/>
                <a:gd name="T82" fmla="*/ 421 w 694"/>
                <a:gd name="T83" fmla="*/ 907 h 907"/>
                <a:gd name="T84" fmla="*/ 357 w 694"/>
                <a:gd name="T85" fmla="*/ 907 h 907"/>
                <a:gd name="T86" fmla="*/ 325 w 694"/>
                <a:gd name="T87" fmla="*/ 904 h 907"/>
                <a:gd name="T88" fmla="*/ 295 w 694"/>
                <a:gd name="T89" fmla="*/ 897 h 907"/>
                <a:gd name="T90" fmla="*/ 267 w 694"/>
                <a:gd name="T91" fmla="*/ 885 h 907"/>
                <a:gd name="T92" fmla="*/ 239 w 694"/>
                <a:gd name="T93" fmla="*/ 869 h 907"/>
                <a:gd name="T94" fmla="*/ 106 w 694"/>
                <a:gd name="T95" fmla="*/ 767 h 907"/>
                <a:gd name="T96" fmla="*/ 80 w 694"/>
                <a:gd name="T97" fmla="*/ 745 h 907"/>
                <a:gd name="T98" fmla="*/ 59 w 694"/>
                <a:gd name="T99" fmla="*/ 718 h 907"/>
                <a:gd name="T100" fmla="*/ 43 w 694"/>
                <a:gd name="T101" fmla="*/ 688 h 907"/>
                <a:gd name="T102" fmla="*/ 33 w 694"/>
                <a:gd name="T103" fmla="*/ 655 h 907"/>
                <a:gd name="T104" fmla="*/ 28 w 694"/>
                <a:gd name="T105" fmla="*/ 622 h 907"/>
                <a:gd name="T106" fmla="*/ 0 w 694"/>
                <a:gd name="T107" fmla="*/ 0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94" h="907">
                  <a:moveTo>
                    <a:pt x="0" y="0"/>
                  </a:moveTo>
                  <a:lnTo>
                    <a:pt x="694" y="0"/>
                  </a:lnTo>
                  <a:lnTo>
                    <a:pt x="679" y="24"/>
                  </a:lnTo>
                  <a:lnTo>
                    <a:pt x="660" y="44"/>
                  </a:lnTo>
                  <a:lnTo>
                    <a:pt x="635" y="62"/>
                  </a:lnTo>
                  <a:lnTo>
                    <a:pt x="607" y="77"/>
                  </a:lnTo>
                  <a:lnTo>
                    <a:pt x="574" y="90"/>
                  </a:lnTo>
                  <a:lnTo>
                    <a:pt x="540" y="102"/>
                  </a:lnTo>
                  <a:lnTo>
                    <a:pt x="504" y="110"/>
                  </a:lnTo>
                  <a:lnTo>
                    <a:pt x="467" y="118"/>
                  </a:lnTo>
                  <a:lnTo>
                    <a:pt x="430" y="124"/>
                  </a:lnTo>
                  <a:lnTo>
                    <a:pt x="393" y="128"/>
                  </a:lnTo>
                  <a:lnTo>
                    <a:pt x="358" y="129"/>
                  </a:lnTo>
                  <a:lnTo>
                    <a:pt x="324" y="130"/>
                  </a:lnTo>
                  <a:lnTo>
                    <a:pt x="301" y="132"/>
                  </a:lnTo>
                  <a:lnTo>
                    <a:pt x="281" y="141"/>
                  </a:lnTo>
                  <a:lnTo>
                    <a:pt x="264" y="152"/>
                  </a:lnTo>
                  <a:lnTo>
                    <a:pt x="251" y="167"/>
                  </a:lnTo>
                  <a:lnTo>
                    <a:pt x="241" y="182"/>
                  </a:lnTo>
                  <a:lnTo>
                    <a:pt x="233" y="198"/>
                  </a:lnTo>
                  <a:lnTo>
                    <a:pt x="228" y="214"/>
                  </a:lnTo>
                  <a:lnTo>
                    <a:pt x="227" y="228"/>
                  </a:lnTo>
                  <a:lnTo>
                    <a:pt x="227" y="263"/>
                  </a:lnTo>
                  <a:lnTo>
                    <a:pt x="227" y="307"/>
                  </a:lnTo>
                  <a:lnTo>
                    <a:pt x="227" y="354"/>
                  </a:lnTo>
                  <a:lnTo>
                    <a:pt x="227" y="403"/>
                  </a:lnTo>
                  <a:lnTo>
                    <a:pt x="227" y="454"/>
                  </a:lnTo>
                  <a:lnTo>
                    <a:pt x="227" y="502"/>
                  </a:lnTo>
                  <a:lnTo>
                    <a:pt x="227" y="546"/>
                  </a:lnTo>
                  <a:lnTo>
                    <a:pt x="227" y="585"/>
                  </a:lnTo>
                  <a:lnTo>
                    <a:pt x="227" y="615"/>
                  </a:lnTo>
                  <a:lnTo>
                    <a:pt x="230" y="659"/>
                  </a:lnTo>
                  <a:lnTo>
                    <a:pt x="238" y="701"/>
                  </a:lnTo>
                  <a:lnTo>
                    <a:pt x="252" y="739"/>
                  </a:lnTo>
                  <a:lnTo>
                    <a:pt x="269" y="775"/>
                  </a:lnTo>
                  <a:lnTo>
                    <a:pt x="289" y="807"/>
                  </a:lnTo>
                  <a:lnTo>
                    <a:pt x="311" y="835"/>
                  </a:lnTo>
                  <a:lnTo>
                    <a:pt x="335" y="860"/>
                  </a:lnTo>
                  <a:lnTo>
                    <a:pt x="358" y="880"/>
                  </a:lnTo>
                  <a:lnTo>
                    <a:pt x="380" y="895"/>
                  </a:lnTo>
                  <a:lnTo>
                    <a:pt x="403" y="903"/>
                  </a:lnTo>
                  <a:lnTo>
                    <a:pt x="421" y="907"/>
                  </a:lnTo>
                  <a:lnTo>
                    <a:pt x="357" y="907"/>
                  </a:lnTo>
                  <a:lnTo>
                    <a:pt x="325" y="904"/>
                  </a:lnTo>
                  <a:lnTo>
                    <a:pt x="295" y="897"/>
                  </a:lnTo>
                  <a:lnTo>
                    <a:pt x="267" y="885"/>
                  </a:lnTo>
                  <a:lnTo>
                    <a:pt x="239" y="869"/>
                  </a:lnTo>
                  <a:lnTo>
                    <a:pt x="106" y="767"/>
                  </a:lnTo>
                  <a:lnTo>
                    <a:pt x="80" y="745"/>
                  </a:lnTo>
                  <a:lnTo>
                    <a:pt x="59" y="718"/>
                  </a:lnTo>
                  <a:lnTo>
                    <a:pt x="43" y="688"/>
                  </a:lnTo>
                  <a:lnTo>
                    <a:pt x="33" y="655"/>
                  </a:lnTo>
                  <a:lnTo>
                    <a:pt x="28" y="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AB6B"/>
            </a:solidFill>
            <a:ln w="0">
              <a:solidFill>
                <a:srgbClr val="E8AB6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3"/>
            <p:cNvSpPr>
              <a:spLocks/>
            </p:cNvSpPr>
            <p:nvPr/>
          </p:nvSpPr>
          <p:spPr bwMode="auto">
            <a:xfrm>
              <a:off x="5233" y="2388"/>
              <a:ext cx="72" cy="100"/>
            </a:xfrm>
            <a:custGeom>
              <a:avLst/>
              <a:gdLst>
                <a:gd name="T0" fmla="*/ 264 w 291"/>
                <a:gd name="T1" fmla="*/ 0 h 399"/>
                <a:gd name="T2" fmla="*/ 279 w 291"/>
                <a:gd name="T3" fmla="*/ 25 h 399"/>
                <a:gd name="T4" fmla="*/ 288 w 291"/>
                <a:gd name="T5" fmla="*/ 52 h 399"/>
                <a:gd name="T6" fmla="*/ 291 w 291"/>
                <a:gd name="T7" fmla="*/ 80 h 399"/>
                <a:gd name="T8" fmla="*/ 291 w 291"/>
                <a:gd name="T9" fmla="*/ 335 h 399"/>
                <a:gd name="T10" fmla="*/ 288 w 291"/>
                <a:gd name="T11" fmla="*/ 355 h 399"/>
                <a:gd name="T12" fmla="*/ 279 w 291"/>
                <a:gd name="T13" fmla="*/ 373 h 399"/>
                <a:gd name="T14" fmla="*/ 265 w 291"/>
                <a:gd name="T15" fmla="*/ 387 h 399"/>
                <a:gd name="T16" fmla="*/ 248 w 291"/>
                <a:gd name="T17" fmla="*/ 395 h 399"/>
                <a:gd name="T18" fmla="*/ 227 w 291"/>
                <a:gd name="T19" fmla="*/ 399 h 399"/>
                <a:gd name="T20" fmla="*/ 0 w 291"/>
                <a:gd name="T21" fmla="*/ 399 h 399"/>
                <a:gd name="T22" fmla="*/ 0 w 291"/>
                <a:gd name="T23" fmla="*/ 309 h 399"/>
                <a:gd name="T24" fmla="*/ 2 w 291"/>
                <a:gd name="T25" fmla="*/ 282 h 399"/>
                <a:gd name="T26" fmla="*/ 9 w 291"/>
                <a:gd name="T27" fmla="*/ 256 h 399"/>
                <a:gd name="T28" fmla="*/ 20 w 291"/>
                <a:gd name="T29" fmla="*/ 231 h 399"/>
                <a:gd name="T30" fmla="*/ 35 w 291"/>
                <a:gd name="T31" fmla="*/ 209 h 399"/>
                <a:gd name="T32" fmla="*/ 54 w 291"/>
                <a:gd name="T33" fmla="*/ 189 h 399"/>
                <a:gd name="T34" fmla="*/ 264 w 291"/>
                <a:gd name="T35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1" h="399">
                  <a:moveTo>
                    <a:pt x="264" y="0"/>
                  </a:moveTo>
                  <a:lnTo>
                    <a:pt x="279" y="25"/>
                  </a:lnTo>
                  <a:lnTo>
                    <a:pt x="288" y="52"/>
                  </a:lnTo>
                  <a:lnTo>
                    <a:pt x="291" y="80"/>
                  </a:lnTo>
                  <a:lnTo>
                    <a:pt x="291" y="335"/>
                  </a:lnTo>
                  <a:lnTo>
                    <a:pt x="288" y="355"/>
                  </a:lnTo>
                  <a:lnTo>
                    <a:pt x="279" y="373"/>
                  </a:lnTo>
                  <a:lnTo>
                    <a:pt x="265" y="387"/>
                  </a:lnTo>
                  <a:lnTo>
                    <a:pt x="248" y="395"/>
                  </a:lnTo>
                  <a:lnTo>
                    <a:pt x="227" y="399"/>
                  </a:lnTo>
                  <a:lnTo>
                    <a:pt x="0" y="399"/>
                  </a:lnTo>
                  <a:lnTo>
                    <a:pt x="0" y="309"/>
                  </a:lnTo>
                  <a:lnTo>
                    <a:pt x="2" y="282"/>
                  </a:lnTo>
                  <a:lnTo>
                    <a:pt x="9" y="256"/>
                  </a:lnTo>
                  <a:lnTo>
                    <a:pt x="20" y="231"/>
                  </a:lnTo>
                  <a:lnTo>
                    <a:pt x="35" y="209"/>
                  </a:lnTo>
                  <a:lnTo>
                    <a:pt x="54" y="189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E8F3FF"/>
            </a:solidFill>
            <a:ln w="0">
              <a:solidFill>
                <a:srgbClr val="E8F3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4"/>
            <p:cNvSpPr>
              <a:spLocks/>
            </p:cNvSpPr>
            <p:nvPr/>
          </p:nvSpPr>
          <p:spPr bwMode="auto">
            <a:xfrm>
              <a:off x="4885" y="2388"/>
              <a:ext cx="72" cy="100"/>
            </a:xfrm>
            <a:custGeom>
              <a:avLst/>
              <a:gdLst>
                <a:gd name="T0" fmla="*/ 28 w 291"/>
                <a:gd name="T1" fmla="*/ 0 h 399"/>
                <a:gd name="T2" fmla="*/ 238 w 291"/>
                <a:gd name="T3" fmla="*/ 189 h 399"/>
                <a:gd name="T4" fmla="*/ 256 w 291"/>
                <a:gd name="T5" fmla="*/ 209 h 399"/>
                <a:gd name="T6" fmla="*/ 271 w 291"/>
                <a:gd name="T7" fmla="*/ 231 h 399"/>
                <a:gd name="T8" fmla="*/ 282 w 291"/>
                <a:gd name="T9" fmla="*/ 256 h 399"/>
                <a:gd name="T10" fmla="*/ 290 w 291"/>
                <a:gd name="T11" fmla="*/ 282 h 399"/>
                <a:gd name="T12" fmla="*/ 291 w 291"/>
                <a:gd name="T13" fmla="*/ 309 h 399"/>
                <a:gd name="T14" fmla="*/ 291 w 291"/>
                <a:gd name="T15" fmla="*/ 399 h 399"/>
                <a:gd name="T16" fmla="*/ 65 w 291"/>
                <a:gd name="T17" fmla="*/ 399 h 399"/>
                <a:gd name="T18" fmla="*/ 44 w 291"/>
                <a:gd name="T19" fmla="*/ 395 h 399"/>
                <a:gd name="T20" fmla="*/ 26 w 291"/>
                <a:gd name="T21" fmla="*/ 387 h 399"/>
                <a:gd name="T22" fmla="*/ 13 w 291"/>
                <a:gd name="T23" fmla="*/ 373 h 399"/>
                <a:gd name="T24" fmla="*/ 3 w 291"/>
                <a:gd name="T25" fmla="*/ 355 h 399"/>
                <a:gd name="T26" fmla="*/ 0 w 291"/>
                <a:gd name="T27" fmla="*/ 335 h 399"/>
                <a:gd name="T28" fmla="*/ 0 w 291"/>
                <a:gd name="T29" fmla="*/ 80 h 399"/>
                <a:gd name="T30" fmla="*/ 3 w 291"/>
                <a:gd name="T31" fmla="*/ 52 h 399"/>
                <a:gd name="T32" fmla="*/ 13 w 291"/>
                <a:gd name="T33" fmla="*/ 25 h 399"/>
                <a:gd name="T34" fmla="*/ 28 w 291"/>
                <a:gd name="T35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1" h="399">
                  <a:moveTo>
                    <a:pt x="28" y="0"/>
                  </a:moveTo>
                  <a:lnTo>
                    <a:pt x="238" y="189"/>
                  </a:lnTo>
                  <a:lnTo>
                    <a:pt x="256" y="209"/>
                  </a:lnTo>
                  <a:lnTo>
                    <a:pt x="271" y="231"/>
                  </a:lnTo>
                  <a:lnTo>
                    <a:pt x="282" y="256"/>
                  </a:lnTo>
                  <a:lnTo>
                    <a:pt x="290" y="282"/>
                  </a:lnTo>
                  <a:lnTo>
                    <a:pt x="291" y="309"/>
                  </a:lnTo>
                  <a:lnTo>
                    <a:pt x="291" y="399"/>
                  </a:lnTo>
                  <a:lnTo>
                    <a:pt x="65" y="399"/>
                  </a:lnTo>
                  <a:lnTo>
                    <a:pt x="44" y="395"/>
                  </a:lnTo>
                  <a:lnTo>
                    <a:pt x="26" y="387"/>
                  </a:lnTo>
                  <a:lnTo>
                    <a:pt x="13" y="373"/>
                  </a:lnTo>
                  <a:lnTo>
                    <a:pt x="3" y="355"/>
                  </a:lnTo>
                  <a:lnTo>
                    <a:pt x="0" y="335"/>
                  </a:lnTo>
                  <a:lnTo>
                    <a:pt x="0" y="80"/>
                  </a:lnTo>
                  <a:lnTo>
                    <a:pt x="3" y="52"/>
                  </a:lnTo>
                  <a:lnTo>
                    <a:pt x="13" y="2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E8F3FF"/>
            </a:solidFill>
            <a:ln w="0">
              <a:solidFill>
                <a:srgbClr val="E8F3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"/>
            <p:cNvSpPr>
              <a:spLocks/>
            </p:cNvSpPr>
            <p:nvPr/>
          </p:nvSpPr>
          <p:spPr bwMode="auto">
            <a:xfrm>
              <a:off x="5075" y="2415"/>
              <a:ext cx="40" cy="73"/>
            </a:xfrm>
            <a:custGeom>
              <a:avLst/>
              <a:gdLst>
                <a:gd name="T0" fmla="*/ 21 w 163"/>
                <a:gd name="T1" fmla="*/ 0 h 291"/>
                <a:gd name="T2" fmla="*/ 142 w 163"/>
                <a:gd name="T3" fmla="*/ 0 h 291"/>
                <a:gd name="T4" fmla="*/ 163 w 163"/>
                <a:gd name="T5" fmla="*/ 291 h 291"/>
                <a:gd name="T6" fmla="*/ 0 w 163"/>
                <a:gd name="T7" fmla="*/ 291 h 291"/>
                <a:gd name="T8" fmla="*/ 21 w 163"/>
                <a:gd name="T9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291">
                  <a:moveTo>
                    <a:pt x="21" y="0"/>
                  </a:moveTo>
                  <a:lnTo>
                    <a:pt x="142" y="0"/>
                  </a:lnTo>
                  <a:lnTo>
                    <a:pt x="163" y="291"/>
                  </a:lnTo>
                  <a:lnTo>
                    <a:pt x="0" y="291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253967"/>
            </a:solidFill>
            <a:ln w="0">
              <a:solidFill>
                <a:srgbClr val="2539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6"/>
            <p:cNvSpPr>
              <a:spLocks/>
            </p:cNvSpPr>
            <p:nvPr/>
          </p:nvSpPr>
          <p:spPr bwMode="auto">
            <a:xfrm>
              <a:off x="5075" y="2399"/>
              <a:ext cx="40" cy="24"/>
            </a:xfrm>
            <a:custGeom>
              <a:avLst/>
              <a:gdLst>
                <a:gd name="T0" fmla="*/ 0 w 163"/>
                <a:gd name="T1" fmla="*/ 0 h 97"/>
                <a:gd name="T2" fmla="*/ 163 w 163"/>
                <a:gd name="T3" fmla="*/ 0 h 97"/>
                <a:gd name="T4" fmla="*/ 163 w 163"/>
                <a:gd name="T5" fmla="*/ 19 h 97"/>
                <a:gd name="T6" fmla="*/ 159 w 163"/>
                <a:gd name="T7" fmla="*/ 40 h 97"/>
                <a:gd name="T8" fmla="*/ 152 w 163"/>
                <a:gd name="T9" fmla="*/ 58 h 97"/>
                <a:gd name="T10" fmla="*/ 139 w 163"/>
                <a:gd name="T11" fmla="*/ 74 h 97"/>
                <a:gd name="T12" fmla="*/ 123 w 163"/>
                <a:gd name="T13" fmla="*/ 87 h 97"/>
                <a:gd name="T14" fmla="*/ 105 w 163"/>
                <a:gd name="T15" fmla="*/ 94 h 97"/>
                <a:gd name="T16" fmla="*/ 84 w 163"/>
                <a:gd name="T17" fmla="*/ 97 h 97"/>
                <a:gd name="T18" fmla="*/ 79 w 163"/>
                <a:gd name="T19" fmla="*/ 97 h 97"/>
                <a:gd name="T20" fmla="*/ 58 w 163"/>
                <a:gd name="T21" fmla="*/ 94 h 97"/>
                <a:gd name="T22" fmla="*/ 39 w 163"/>
                <a:gd name="T23" fmla="*/ 87 h 97"/>
                <a:gd name="T24" fmla="*/ 23 w 163"/>
                <a:gd name="T25" fmla="*/ 74 h 97"/>
                <a:gd name="T26" fmla="*/ 11 w 163"/>
                <a:gd name="T27" fmla="*/ 58 h 97"/>
                <a:gd name="T28" fmla="*/ 3 w 163"/>
                <a:gd name="T29" fmla="*/ 40 h 97"/>
                <a:gd name="T30" fmla="*/ 0 w 163"/>
                <a:gd name="T31" fmla="*/ 19 h 97"/>
                <a:gd name="T32" fmla="*/ 0 w 163"/>
                <a:gd name="T3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3" h="97">
                  <a:moveTo>
                    <a:pt x="0" y="0"/>
                  </a:moveTo>
                  <a:lnTo>
                    <a:pt x="163" y="0"/>
                  </a:lnTo>
                  <a:lnTo>
                    <a:pt x="163" y="19"/>
                  </a:lnTo>
                  <a:lnTo>
                    <a:pt x="159" y="40"/>
                  </a:lnTo>
                  <a:lnTo>
                    <a:pt x="152" y="58"/>
                  </a:lnTo>
                  <a:lnTo>
                    <a:pt x="139" y="74"/>
                  </a:lnTo>
                  <a:lnTo>
                    <a:pt x="123" y="87"/>
                  </a:lnTo>
                  <a:lnTo>
                    <a:pt x="105" y="94"/>
                  </a:lnTo>
                  <a:lnTo>
                    <a:pt x="84" y="97"/>
                  </a:lnTo>
                  <a:lnTo>
                    <a:pt x="79" y="97"/>
                  </a:lnTo>
                  <a:lnTo>
                    <a:pt x="58" y="94"/>
                  </a:lnTo>
                  <a:lnTo>
                    <a:pt x="39" y="87"/>
                  </a:lnTo>
                  <a:lnTo>
                    <a:pt x="23" y="74"/>
                  </a:lnTo>
                  <a:lnTo>
                    <a:pt x="11" y="58"/>
                  </a:lnTo>
                  <a:lnTo>
                    <a:pt x="3" y="40"/>
                  </a:lnTo>
                  <a:lnTo>
                    <a:pt x="0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1E4E"/>
            </a:solidFill>
            <a:ln w="0">
              <a:solidFill>
                <a:srgbClr val="0C1E4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7"/>
            <p:cNvSpPr>
              <a:spLocks/>
            </p:cNvSpPr>
            <p:nvPr/>
          </p:nvSpPr>
          <p:spPr bwMode="auto">
            <a:xfrm>
              <a:off x="4998" y="2331"/>
              <a:ext cx="97" cy="102"/>
            </a:xfrm>
            <a:custGeom>
              <a:avLst/>
              <a:gdLst>
                <a:gd name="T0" fmla="*/ 68 w 389"/>
                <a:gd name="T1" fmla="*/ 0 h 410"/>
                <a:gd name="T2" fmla="*/ 81 w 389"/>
                <a:gd name="T3" fmla="*/ 0 h 410"/>
                <a:gd name="T4" fmla="*/ 93 w 389"/>
                <a:gd name="T5" fmla="*/ 7 h 410"/>
                <a:gd name="T6" fmla="*/ 389 w 389"/>
                <a:gd name="T7" fmla="*/ 274 h 410"/>
                <a:gd name="T8" fmla="*/ 387 w 389"/>
                <a:gd name="T9" fmla="*/ 276 h 410"/>
                <a:gd name="T10" fmla="*/ 378 w 389"/>
                <a:gd name="T11" fmla="*/ 280 h 410"/>
                <a:gd name="T12" fmla="*/ 364 w 389"/>
                <a:gd name="T13" fmla="*/ 288 h 410"/>
                <a:gd name="T14" fmla="*/ 346 w 389"/>
                <a:gd name="T15" fmla="*/ 299 h 410"/>
                <a:gd name="T16" fmla="*/ 324 w 389"/>
                <a:gd name="T17" fmla="*/ 313 h 410"/>
                <a:gd name="T18" fmla="*/ 298 w 389"/>
                <a:gd name="T19" fmla="*/ 330 h 410"/>
                <a:gd name="T20" fmla="*/ 268 w 389"/>
                <a:gd name="T21" fmla="*/ 350 h 410"/>
                <a:gd name="T22" fmla="*/ 237 w 389"/>
                <a:gd name="T23" fmla="*/ 373 h 410"/>
                <a:gd name="T24" fmla="*/ 204 w 389"/>
                <a:gd name="T25" fmla="*/ 400 h 410"/>
                <a:gd name="T26" fmla="*/ 190 w 389"/>
                <a:gd name="T27" fmla="*/ 408 h 410"/>
                <a:gd name="T28" fmla="*/ 175 w 389"/>
                <a:gd name="T29" fmla="*/ 410 h 410"/>
                <a:gd name="T30" fmla="*/ 160 w 389"/>
                <a:gd name="T31" fmla="*/ 406 h 410"/>
                <a:gd name="T32" fmla="*/ 148 w 389"/>
                <a:gd name="T33" fmla="*/ 398 h 410"/>
                <a:gd name="T34" fmla="*/ 139 w 389"/>
                <a:gd name="T35" fmla="*/ 385 h 410"/>
                <a:gd name="T36" fmla="*/ 0 w 389"/>
                <a:gd name="T37" fmla="*/ 79 h 410"/>
                <a:gd name="T38" fmla="*/ 44 w 389"/>
                <a:gd name="T39" fmla="*/ 14 h 410"/>
                <a:gd name="T40" fmla="*/ 54 w 389"/>
                <a:gd name="T41" fmla="*/ 4 h 410"/>
                <a:gd name="T42" fmla="*/ 68 w 389"/>
                <a:gd name="T43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9" h="410">
                  <a:moveTo>
                    <a:pt x="68" y="0"/>
                  </a:moveTo>
                  <a:lnTo>
                    <a:pt x="81" y="0"/>
                  </a:lnTo>
                  <a:lnTo>
                    <a:pt x="93" y="7"/>
                  </a:lnTo>
                  <a:lnTo>
                    <a:pt x="389" y="274"/>
                  </a:lnTo>
                  <a:lnTo>
                    <a:pt x="387" y="276"/>
                  </a:lnTo>
                  <a:lnTo>
                    <a:pt x="378" y="280"/>
                  </a:lnTo>
                  <a:lnTo>
                    <a:pt x="364" y="288"/>
                  </a:lnTo>
                  <a:lnTo>
                    <a:pt x="346" y="299"/>
                  </a:lnTo>
                  <a:lnTo>
                    <a:pt x="324" y="313"/>
                  </a:lnTo>
                  <a:lnTo>
                    <a:pt x="298" y="330"/>
                  </a:lnTo>
                  <a:lnTo>
                    <a:pt x="268" y="350"/>
                  </a:lnTo>
                  <a:lnTo>
                    <a:pt x="237" y="373"/>
                  </a:lnTo>
                  <a:lnTo>
                    <a:pt x="204" y="400"/>
                  </a:lnTo>
                  <a:lnTo>
                    <a:pt x="190" y="408"/>
                  </a:lnTo>
                  <a:lnTo>
                    <a:pt x="175" y="410"/>
                  </a:lnTo>
                  <a:lnTo>
                    <a:pt x="160" y="406"/>
                  </a:lnTo>
                  <a:lnTo>
                    <a:pt x="148" y="398"/>
                  </a:lnTo>
                  <a:lnTo>
                    <a:pt x="139" y="385"/>
                  </a:lnTo>
                  <a:lnTo>
                    <a:pt x="0" y="79"/>
                  </a:lnTo>
                  <a:lnTo>
                    <a:pt x="44" y="14"/>
                  </a:lnTo>
                  <a:lnTo>
                    <a:pt x="54" y="4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E8F3FF"/>
            </a:solidFill>
            <a:ln w="0">
              <a:solidFill>
                <a:srgbClr val="E8F3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8"/>
            <p:cNvSpPr>
              <a:spLocks/>
            </p:cNvSpPr>
            <p:nvPr/>
          </p:nvSpPr>
          <p:spPr bwMode="auto">
            <a:xfrm>
              <a:off x="5095" y="2331"/>
              <a:ext cx="97" cy="102"/>
            </a:xfrm>
            <a:custGeom>
              <a:avLst/>
              <a:gdLst>
                <a:gd name="T0" fmla="*/ 322 w 389"/>
                <a:gd name="T1" fmla="*/ 0 h 410"/>
                <a:gd name="T2" fmla="*/ 335 w 389"/>
                <a:gd name="T3" fmla="*/ 4 h 410"/>
                <a:gd name="T4" fmla="*/ 345 w 389"/>
                <a:gd name="T5" fmla="*/ 14 h 410"/>
                <a:gd name="T6" fmla="*/ 389 w 389"/>
                <a:gd name="T7" fmla="*/ 79 h 410"/>
                <a:gd name="T8" fmla="*/ 250 w 389"/>
                <a:gd name="T9" fmla="*/ 385 h 410"/>
                <a:gd name="T10" fmla="*/ 241 w 389"/>
                <a:gd name="T11" fmla="*/ 398 h 410"/>
                <a:gd name="T12" fmla="*/ 229 w 389"/>
                <a:gd name="T13" fmla="*/ 406 h 410"/>
                <a:gd name="T14" fmla="*/ 214 w 389"/>
                <a:gd name="T15" fmla="*/ 410 h 410"/>
                <a:gd name="T16" fmla="*/ 199 w 389"/>
                <a:gd name="T17" fmla="*/ 408 h 410"/>
                <a:gd name="T18" fmla="*/ 186 w 389"/>
                <a:gd name="T19" fmla="*/ 400 h 410"/>
                <a:gd name="T20" fmla="*/ 152 w 389"/>
                <a:gd name="T21" fmla="*/ 373 h 410"/>
                <a:gd name="T22" fmla="*/ 121 w 389"/>
                <a:gd name="T23" fmla="*/ 350 h 410"/>
                <a:gd name="T24" fmla="*/ 92 w 389"/>
                <a:gd name="T25" fmla="*/ 330 h 410"/>
                <a:gd name="T26" fmla="*/ 66 w 389"/>
                <a:gd name="T27" fmla="*/ 313 h 410"/>
                <a:gd name="T28" fmla="*/ 43 w 389"/>
                <a:gd name="T29" fmla="*/ 299 h 410"/>
                <a:gd name="T30" fmla="*/ 25 w 389"/>
                <a:gd name="T31" fmla="*/ 288 h 410"/>
                <a:gd name="T32" fmla="*/ 11 w 389"/>
                <a:gd name="T33" fmla="*/ 280 h 410"/>
                <a:gd name="T34" fmla="*/ 3 w 389"/>
                <a:gd name="T35" fmla="*/ 276 h 410"/>
                <a:gd name="T36" fmla="*/ 0 w 389"/>
                <a:gd name="T37" fmla="*/ 274 h 410"/>
                <a:gd name="T38" fmla="*/ 297 w 389"/>
                <a:gd name="T39" fmla="*/ 7 h 410"/>
                <a:gd name="T40" fmla="*/ 308 w 389"/>
                <a:gd name="T41" fmla="*/ 0 h 410"/>
                <a:gd name="T42" fmla="*/ 322 w 389"/>
                <a:gd name="T43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9" h="410">
                  <a:moveTo>
                    <a:pt x="322" y="0"/>
                  </a:moveTo>
                  <a:lnTo>
                    <a:pt x="335" y="4"/>
                  </a:lnTo>
                  <a:lnTo>
                    <a:pt x="345" y="14"/>
                  </a:lnTo>
                  <a:lnTo>
                    <a:pt x="389" y="79"/>
                  </a:lnTo>
                  <a:lnTo>
                    <a:pt x="250" y="385"/>
                  </a:lnTo>
                  <a:lnTo>
                    <a:pt x="241" y="398"/>
                  </a:lnTo>
                  <a:lnTo>
                    <a:pt x="229" y="406"/>
                  </a:lnTo>
                  <a:lnTo>
                    <a:pt x="214" y="410"/>
                  </a:lnTo>
                  <a:lnTo>
                    <a:pt x="199" y="408"/>
                  </a:lnTo>
                  <a:lnTo>
                    <a:pt x="186" y="400"/>
                  </a:lnTo>
                  <a:lnTo>
                    <a:pt x="152" y="373"/>
                  </a:lnTo>
                  <a:lnTo>
                    <a:pt x="121" y="350"/>
                  </a:lnTo>
                  <a:lnTo>
                    <a:pt x="92" y="330"/>
                  </a:lnTo>
                  <a:lnTo>
                    <a:pt x="66" y="313"/>
                  </a:lnTo>
                  <a:lnTo>
                    <a:pt x="43" y="299"/>
                  </a:lnTo>
                  <a:lnTo>
                    <a:pt x="25" y="288"/>
                  </a:lnTo>
                  <a:lnTo>
                    <a:pt x="11" y="280"/>
                  </a:lnTo>
                  <a:lnTo>
                    <a:pt x="3" y="276"/>
                  </a:lnTo>
                  <a:lnTo>
                    <a:pt x="0" y="274"/>
                  </a:lnTo>
                  <a:lnTo>
                    <a:pt x="297" y="7"/>
                  </a:lnTo>
                  <a:lnTo>
                    <a:pt x="308" y="0"/>
                  </a:lnTo>
                  <a:lnTo>
                    <a:pt x="322" y="0"/>
                  </a:lnTo>
                  <a:close/>
                </a:path>
              </a:pathLst>
            </a:custGeom>
            <a:solidFill>
              <a:srgbClr val="E8F3FF"/>
            </a:solidFill>
            <a:ln w="0">
              <a:solidFill>
                <a:srgbClr val="E8F3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9"/>
            <p:cNvSpPr>
              <a:spLocks/>
            </p:cNvSpPr>
            <p:nvPr/>
          </p:nvSpPr>
          <p:spPr bwMode="auto">
            <a:xfrm>
              <a:off x="5144" y="2049"/>
              <a:ext cx="80" cy="164"/>
            </a:xfrm>
            <a:custGeom>
              <a:avLst/>
              <a:gdLst>
                <a:gd name="T0" fmla="*/ 106 w 320"/>
                <a:gd name="T1" fmla="*/ 0 h 655"/>
                <a:gd name="T2" fmla="*/ 134 w 320"/>
                <a:gd name="T3" fmla="*/ 3 h 655"/>
                <a:gd name="T4" fmla="*/ 162 w 320"/>
                <a:gd name="T5" fmla="*/ 11 h 655"/>
                <a:gd name="T6" fmla="*/ 185 w 320"/>
                <a:gd name="T7" fmla="*/ 22 h 655"/>
                <a:gd name="T8" fmla="*/ 207 w 320"/>
                <a:gd name="T9" fmla="*/ 37 h 655"/>
                <a:gd name="T10" fmla="*/ 226 w 320"/>
                <a:gd name="T11" fmla="*/ 55 h 655"/>
                <a:gd name="T12" fmla="*/ 243 w 320"/>
                <a:gd name="T13" fmla="*/ 75 h 655"/>
                <a:gd name="T14" fmla="*/ 257 w 320"/>
                <a:gd name="T15" fmla="*/ 98 h 655"/>
                <a:gd name="T16" fmla="*/ 270 w 320"/>
                <a:gd name="T17" fmla="*/ 123 h 655"/>
                <a:gd name="T18" fmla="*/ 280 w 320"/>
                <a:gd name="T19" fmla="*/ 149 h 655"/>
                <a:gd name="T20" fmla="*/ 290 w 320"/>
                <a:gd name="T21" fmla="*/ 176 h 655"/>
                <a:gd name="T22" fmla="*/ 298 w 320"/>
                <a:gd name="T23" fmla="*/ 203 h 655"/>
                <a:gd name="T24" fmla="*/ 304 w 320"/>
                <a:gd name="T25" fmla="*/ 231 h 655"/>
                <a:gd name="T26" fmla="*/ 309 w 320"/>
                <a:gd name="T27" fmla="*/ 259 h 655"/>
                <a:gd name="T28" fmla="*/ 312 w 320"/>
                <a:gd name="T29" fmla="*/ 285 h 655"/>
                <a:gd name="T30" fmla="*/ 316 w 320"/>
                <a:gd name="T31" fmla="*/ 311 h 655"/>
                <a:gd name="T32" fmla="*/ 317 w 320"/>
                <a:gd name="T33" fmla="*/ 336 h 655"/>
                <a:gd name="T34" fmla="*/ 319 w 320"/>
                <a:gd name="T35" fmla="*/ 358 h 655"/>
                <a:gd name="T36" fmla="*/ 320 w 320"/>
                <a:gd name="T37" fmla="*/ 378 h 655"/>
                <a:gd name="T38" fmla="*/ 320 w 320"/>
                <a:gd name="T39" fmla="*/ 395 h 655"/>
                <a:gd name="T40" fmla="*/ 320 w 320"/>
                <a:gd name="T41" fmla="*/ 410 h 655"/>
                <a:gd name="T42" fmla="*/ 320 w 320"/>
                <a:gd name="T43" fmla="*/ 420 h 655"/>
                <a:gd name="T44" fmla="*/ 320 w 320"/>
                <a:gd name="T45" fmla="*/ 427 h 655"/>
                <a:gd name="T46" fmla="*/ 320 w 320"/>
                <a:gd name="T47" fmla="*/ 428 h 655"/>
                <a:gd name="T48" fmla="*/ 298 w 320"/>
                <a:gd name="T49" fmla="*/ 457 h 655"/>
                <a:gd name="T50" fmla="*/ 280 w 320"/>
                <a:gd name="T51" fmla="*/ 487 h 655"/>
                <a:gd name="T52" fmla="*/ 269 w 320"/>
                <a:gd name="T53" fmla="*/ 518 h 655"/>
                <a:gd name="T54" fmla="*/ 260 w 320"/>
                <a:gd name="T55" fmla="*/ 548 h 655"/>
                <a:gd name="T56" fmla="*/ 256 w 320"/>
                <a:gd name="T57" fmla="*/ 576 h 655"/>
                <a:gd name="T58" fmla="*/ 253 w 320"/>
                <a:gd name="T59" fmla="*/ 602 h 655"/>
                <a:gd name="T60" fmla="*/ 253 w 320"/>
                <a:gd name="T61" fmla="*/ 623 h 655"/>
                <a:gd name="T62" fmla="*/ 253 w 320"/>
                <a:gd name="T63" fmla="*/ 641 h 655"/>
                <a:gd name="T64" fmla="*/ 254 w 320"/>
                <a:gd name="T65" fmla="*/ 652 h 655"/>
                <a:gd name="T66" fmla="*/ 254 w 320"/>
                <a:gd name="T67" fmla="*/ 655 h 655"/>
                <a:gd name="T68" fmla="*/ 201 w 320"/>
                <a:gd name="T69" fmla="*/ 574 h 655"/>
                <a:gd name="T70" fmla="*/ 195 w 320"/>
                <a:gd name="T71" fmla="*/ 558 h 655"/>
                <a:gd name="T72" fmla="*/ 191 w 320"/>
                <a:gd name="T73" fmla="*/ 542 h 655"/>
                <a:gd name="T74" fmla="*/ 190 w 320"/>
                <a:gd name="T75" fmla="*/ 526 h 655"/>
                <a:gd name="T76" fmla="*/ 189 w 320"/>
                <a:gd name="T77" fmla="*/ 506 h 655"/>
                <a:gd name="T78" fmla="*/ 186 w 320"/>
                <a:gd name="T79" fmla="*/ 484 h 655"/>
                <a:gd name="T80" fmla="*/ 183 w 320"/>
                <a:gd name="T81" fmla="*/ 459 h 655"/>
                <a:gd name="T82" fmla="*/ 178 w 320"/>
                <a:gd name="T83" fmla="*/ 432 h 655"/>
                <a:gd name="T84" fmla="*/ 170 w 320"/>
                <a:gd name="T85" fmla="*/ 404 h 655"/>
                <a:gd name="T86" fmla="*/ 162 w 320"/>
                <a:gd name="T87" fmla="*/ 375 h 655"/>
                <a:gd name="T88" fmla="*/ 150 w 320"/>
                <a:gd name="T89" fmla="*/ 348 h 655"/>
                <a:gd name="T90" fmla="*/ 138 w 320"/>
                <a:gd name="T91" fmla="*/ 321 h 655"/>
                <a:gd name="T92" fmla="*/ 122 w 320"/>
                <a:gd name="T93" fmla="*/ 297 h 655"/>
                <a:gd name="T94" fmla="*/ 104 w 320"/>
                <a:gd name="T95" fmla="*/ 275 h 655"/>
                <a:gd name="T96" fmla="*/ 82 w 320"/>
                <a:gd name="T97" fmla="*/ 257 h 655"/>
                <a:gd name="T98" fmla="*/ 58 w 320"/>
                <a:gd name="T99" fmla="*/ 243 h 655"/>
                <a:gd name="T100" fmla="*/ 29 w 320"/>
                <a:gd name="T101" fmla="*/ 234 h 655"/>
                <a:gd name="T102" fmla="*/ 0 w 320"/>
                <a:gd name="T103" fmla="*/ 21 h 655"/>
                <a:gd name="T104" fmla="*/ 38 w 320"/>
                <a:gd name="T105" fmla="*/ 8 h 655"/>
                <a:gd name="T106" fmla="*/ 74 w 320"/>
                <a:gd name="T107" fmla="*/ 2 h 655"/>
                <a:gd name="T108" fmla="*/ 106 w 320"/>
                <a:gd name="T109" fmla="*/ 0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0" h="655">
                  <a:moveTo>
                    <a:pt x="106" y="0"/>
                  </a:moveTo>
                  <a:lnTo>
                    <a:pt x="134" y="3"/>
                  </a:lnTo>
                  <a:lnTo>
                    <a:pt x="162" y="11"/>
                  </a:lnTo>
                  <a:lnTo>
                    <a:pt x="185" y="22"/>
                  </a:lnTo>
                  <a:lnTo>
                    <a:pt x="207" y="37"/>
                  </a:lnTo>
                  <a:lnTo>
                    <a:pt x="226" y="55"/>
                  </a:lnTo>
                  <a:lnTo>
                    <a:pt x="243" y="75"/>
                  </a:lnTo>
                  <a:lnTo>
                    <a:pt x="257" y="98"/>
                  </a:lnTo>
                  <a:lnTo>
                    <a:pt x="270" y="123"/>
                  </a:lnTo>
                  <a:lnTo>
                    <a:pt x="280" y="149"/>
                  </a:lnTo>
                  <a:lnTo>
                    <a:pt x="290" y="176"/>
                  </a:lnTo>
                  <a:lnTo>
                    <a:pt x="298" y="203"/>
                  </a:lnTo>
                  <a:lnTo>
                    <a:pt x="304" y="231"/>
                  </a:lnTo>
                  <a:lnTo>
                    <a:pt x="309" y="259"/>
                  </a:lnTo>
                  <a:lnTo>
                    <a:pt x="312" y="285"/>
                  </a:lnTo>
                  <a:lnTo>
                    <a:pt x="316" y="311"/>
                  </a:lnTo>
                  <a:lnTo>
                    <a:pt x="317" y="336"/>
                  </a:lnTo>
                  <a:lnTo>
                    <a:pt x="319" y="358"/>
                  </a:lnTo>
                  <a:lnTo>
                    <a:pt x="320" y="378"/>
                  </a:lnTo>
                  <a:lnTo>
                    <a:pt x="320" y="395"/>
                  </a:lnTo>
                  <a:lnTo>
                    <a:pt x="320" y="410"/>
                  </a:lnTo>
                  <a:lnTo>
                    <a:pt x="320" y="420"/>
                  </a:lnTo>
                  <a:lnTo>
                    <a:pt x="320" y="427"/>
                  </a:lnTo>
                  <a:lnTo>
                    <a:pt x="320" y="428"/>
                  </a:lnTo>
                  <a:lnTo>
                    <a:pt x="298" y="457"/>
                  </a:lnTo>
                  <a:lnTo>
                    <a:pt x="280" y="487"/>
                  </a:lnTo>
                  <a:lnTo>
                    <a:pt x="269" y="518"/>
                  </a:lnTo>
                  <a:lnTo>
                    <a:pt x="260" y="548"/>
                  </a:lnTo>
                  <a:lnTo>
                    <a:pt x="256" y="576"/>
                  </a:lnTo>
                  <a:lnTo>
                    <a:pt x="253" y="602"/>
                  </a:lnTo>
                  <a:lnTo>
                    <a:pt x="253" y="623"/>
                  </a:lnTo>
                  <a:lnTo>
                    <a:pt x="253" y="641"/>
                  </a:lnTo>
                  <a:lnTo>
                    <a:pt x="254" y="652"/>
                  </a:lnTo>
                  <a:lnTo>
                    <a:pt x="254" y="655"/>
                  </a:lnTo>
                  <a:lnTo>
                    <a:pt x="201" y="574"/>
                  </a:lnTo>
                  <a:lnTo>
                    <a:pt x="195" y="558"/>
                  </a:lnTo>
                  <a:lnTo>
                    <a:pt x="191" y="542"/>
                  </a:lnTo>
                  <a:lnTo>
                    <a:pt x="190" y="526"/>
                  </a:lnTo>
                  <a:lnTo>
                    <a:pt x="189" y="506"/>
                  </a:lnTo>
                  <a:lnTo>
                    <a:pt x="186" y="484"/>
                  </a:lnTo>
                  <a:lnTo>
                    <a:pt x="183" y="459"/>
                  </a:lnTo>
                  <a:lnTo>
                    <a:pt x="178" y="432"/>
                  </a:lnTo>
                  <a:lnTo>
                    <a:pt x="170" y="404"/>
                  </a:lnTo>
                  <a:lnTo>
                    <a:pt x="162" y="375"/>
                  </a:lnTo>
                  <a:lnTo>
                    <a:pt x="150" y="348"/>
                  </a:lnTo>
                  <a:lnTo>
                    <a:pt x="138" y="321"/>
                  </a:lnTo>
                  <a:lnTo>
                    <a:pt x="122" y="297"/>
                  </a:lnTo>
                  <a:lnTo>
                    <a:pt x="104" y="275"/>
                  </a:lnTo>
                  <a:lnTo>
                    <a:pt x="82" y="257"/>
                  </a:lnTo>
                  <a:lnTo>
                    <a:pt x="58" y="243"/>
                  </a:lnTo>
                  <a:lnTo>
                    <a:pt x="29" y="234"/>
                  </a:lnTo>
                  <a:lnTo>
                    <a:pt x="0" y="21"/>
                  </a:lnTo>
                  <a:lnTo>
                    <a:pt x="38" y="8"/>
                  </a:lnTo>
                  <a:lnTo>
                    <a:pt x="74" y="2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481821"/>
            </a:solidFill>
            <a:ln w="0">
              <a:solidFill>
                <a:srgbClr val="48182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0"/>
            <p:cNvSpPr>
              <a:spLocks/>
            </p:cNvSpPr>
            <p:nvPr/>
          </p:nvSpPr>
          <p:spPr bwMode="auto">
            <a:xfrm>
              <a:off x="5183" y="2188"/>
              <a:ext cx="33" cy="65"/>
            </a:xfrm>
            <a:custGeom>
              <a:avLst/>
              <a:gdLst>
                <a:gd name="T0" fmla="*/ 67 w 134"/>
                <a:gd name="T1" fmla="*/ 0 h 259"/>
                <a:gd name="T2" fmla="*/ 67 w 134"/>
                <a:gd name="T3" fmla="*/ 0 h 259"/>
                <a:gd name="T4" fmla="*/ 88 w 134"/>
                <a:gd name="T5" fmla="*/ 4 h 259"/>
                <a:gd name="T6" fmla="*/ 105 w 134"/>
                <a:gd name="T7" fmla="*/ 12 h 259"/>
                <a:gd name="T8" fmla="*/ 120 w 134"/>
                <a:gd name="T9" fmla="*/ 26 h 259"/>
                <a:gd name="T10" fmla="*/ 129 w 134"/>
                <a:gd name="T11" fmla="*/ 43 h 259"/>
                <a:gd name="T12" fmla="*/ 134 w 134"/>
                <a:gd name="T13" fmla="*/ 63 h 259"/>
                <a:gd name="T14" fmla="*/ 131 w 134"/>
                <a:gd name="T15" fmla="*/ 84 h 259"/>
                <a:gd name="T16" fmla="*/ 96 w 134"/>
                <a:gd name="T17" fmla="*/ 230 h 259"/>
                <a:gd name="T18" fmla="*/ 91 w 134"/>
                <a:gd name="T19" fmla="*/ 242 h 259"/>
                <a:gd name="T20" fmla="*/ 82 w 134"/>
                <a:gd name="T21" fmla="*/ 251 h 259"/>
                <a:gd name="T22" fmla="*/ 71 w 134"/>
                <a:gd name="T23" fmla="*/ 257 h 259"/>
                <a:gd name="T24" fmla="*/ 57 w 134"/>
                <a:gd name="T25" fmla="*/ 259 h 259"/>
                <a:gd name="T26" fmla="*/ 44 w 134"/>
                <a:gd name="T27" fmla="*/ 257 h 259"/>
                <a:gd name="T28" fmla="*/ 31 w 134"/>
                <a:gd name="T29" fmla="*/ 249 h 259"/>
                <a:gd name="T30" fmla="*/ 24 w 134"/>
                <a:gd name="T31" fmla="*/ 238 h 259"/>
                <a:gd name="T32" fmla="*/ 19 w 134"/>
                <a:gd name="T33" fmla="*/ 225 h 259"/>
                <a:gd name="T34" fmla="*/ 0 w 134"/>
                <a:gd name="T35" fmla="*/ 75 h 259"/>
                <a:gd name="T36" fmla="*/ 0 w 134"/>
                <a:gd name="T37" fmla="*/ 55 h 259"/>
                <a:gd name="T38" fmla="*/ 7 w 134"/>
                <a:gd name="T39" fmla="*/ 38 h 259"/>
                <a:gd name="T40" fmla="*/ 16 w 134"/>
                <a:gd name="T41" fmla="*/ 23 h 259"/>
                <a:gd name="T42" fmla="*/ 30 w 134"/>
                <a:gd name="T43" fmla="*/ 11 h 259"/>
                <a:gd name="T44" fmla="*/ 47 w 134"/>
                <a:gd name="T45" fmla="*/ 4 h 259"/>
                <a:gd name="T46" fmla="*/ 67 w 134"/>
                <a:gd name="T47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4" h="259">
                  <a:moveTo>
                    <a:pt x="67" y="0"/>
                  </a:moveTo>
                  <a:lnTo>
                    <a:pt x="67" y="0"/>
                  </a:lnTo>
                  <a:lnTo>
                    <a:pt x="88" y="4"/>
                  </a:lnTo>
                  <a:lnTo>
                    <a:pt x="105" y="12"/>
                  </a:lnTo>
                  <a:lnTo>
                    <a:pt x="120" y="26"/>
                  </a:lnTo>
                  <a:lnTo>
                    <a:pt x="129" y="43"/>
                  </a:lnTo>
                  <a:lnTo>
                    <a:pt x="134" y="63"/>
                  </a:lnTo>
                  <a:lnTo>
                    <a:pt x="131" y="84"/>
                  </a:lnTo>
                  <a:lnTo>
                    <a:pt x="96" y="230"/>
                  </a:lnTo>
                  <a:lnTo>
                    <a:pt x="91" y="242"/>
                  </a:lnTo>
                  <a:lnTo>
                    <a:pt x="82" y="251"/>
                  </a:lnTo>
                  <a:lnTo>
                    <a:pt x="71" y="257"/>
                  </a:lnTo>
                  <a:lnTo>
                    <a:pt x="57" y="259"/>
                  </a:lnTo>
                  <a:lnTo>
                    <a:pt x="44" y="257"/>
                  </a:lnTo>
                  <a:lnTo>
                    <a:pt x="31" y="249"/>
                  </a:lnTo>
                  <a:lnTo>
                    <a:pt x="24" y="238"/>
                  </a:lnTo>
                  <a:lnTo>
                    <a:pt x="19" y="225"/>
                  </a:lnTo>
                  <a:lnTo>
                    <a:pt x="0" y="75"/>
                  </a:lnTo>
                  <a:lnTo>
                    <a:pt x="0" y="55"/>
                  </a:lnTo>
                  <a:lnTo>
                    <a:pt x="7" y="38"/>
                  </a:lnTo>
                  <a:lnTo>
                    <a:pt x="16" y="23"/>
                  </a:lnTo>
                  <a:lnTo>
                    <a:pt x="30" y="11"/>
                  </a:lnTo>
                  <a:lnTo>
                    <a:pt x="47" y="4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2BD7B"/>
            </a:solidFill>
            <a:ln w="0">
              <a:solidFill>
                <a:srgbClr val="F2BD7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1"/>
            <p:cNvSpPr>
              <a:spLocks/>
            </p:cNvSpPr>
            <p:nvPr/>
          </p:nvSpPr>
          <p:spPr bwMode="auto">
            <a:xfrm>
              <a:off x="4965" y="2019"/>
              <a:ext cx="219" cy="194"/>
            </a:xfrm>
            <a:custGeom>
              <a:avLst/>
              <a:gdLst>
                <a:gd name="T0" fmla="*/ 573 w 878"/>
                <a:gd name="T1" fmla="*/ 1 h 776"/>
                <a:gd name="T2" fmla="*/ 662 w 878"/>
                <a:gd name="T3" fmla="*/ 13 h 776"/>
                <a:gd name="T4" fmla="*/ 735 w 878"/>
                <a:gd name="T5" fmla="*/ 38 h 776"/>
                <a:gd name="T6" fmla="*/ 791 w 878"/>
                <a:gd name="T7" fmla="*/ 71 h 776"/>
                <a:gd name="T8" fmla="*/ 833 w 878"/>
                <a:gd name="T9" fmla="*/ 107 h 776"/>
                <a:gd name="T10" fmla="*/ 860 w 878"/>
                <a:gd name="T11" fmla="*/ 145 h 776"/>
                <a:gd name="T12" fmla="*/ 875 w 878"/>
                <a:gd name="T13" fmla="*/ 179 h 776"/>
                <a:gd name="T14" fmla="*/ 878 w 878"/>
                <a:gd name="T15" fmla="*/ 219 h 776"/>
                <a:gd name="T16" fmla="*/ 872 w 878"/>
                <a:gd name="T17" fmla="*/ 270 h 776"/>
                <a:gd name="T18" fmla="*/ 852 w 878"/>
                <a:gd name="T19" fmla="*/ 315 h 776"/>
                <a:gd name="T20" fmla="*/ 817 w 878"/>
                <a:gd name="T21" fmla="*/ 354 h 776"/>
                <a:gd name="T22" fmla="*/ 765 w 878"/>
                <a:gd name="T23" fmla="*/ 385 h 776"/>
                <a:gd name="T24" fmla="*/ 692 w 878"/>
                <a:gd name="T25" fmla="*/ 407 h 776"/>
                <a:gd name="T26" fmla="*/ 599 w 878"/>
                <a:gd name="T27" fmla="*/ 418 h 776"/>
                <a:gd name="T28" fmla="*/ 510 w 878"/>
                <a:gd name="T29" fmla="*/ 420 h 776"/>
                <a:gd name="T30" fmla="*/ 442 w 878"/>
                <a:gd name="T31" fmla="*/ 413 h 776"/>
                <a:gd name="T32" fmla="*/ 374 w 878"/>
                <a:gd name="T33" fmla="*/ 412 h 776"/>
                <a:gd name="T34" fmla="*/ 304 w 878"/>
                <a:gd name="T35" fmla="*/ 422 h 776"/>
                <a:gd name="T36" fmla="*/ 229 w 878"/>
                <a:gd name="T37" fmla="*/ 453 h 776"/>
                <a:gd name="T38" fmla="*/ 182 w 878"/>
                <a:gd name="T39" fmla="*/ 492 h 776"/>
                <a:gd name="T40" fmla="*/ 154 w 878"/>
                <a:gd name="T41" fmla="*/ 543 h 776"/>
                <a:gd name="T42" fmla="*/ 138 w 878"/>
                <a:gd name="T43" fmla="*/ 596 h 776"/>
                <a:gd name="T44" fmla="*/ 131 w 878"/>
                <a:gd name="T45" fmla="*/ 646 h 776"/>
                <a:gd name="T46" fmla="*/ 131 w 878"/>
                <a:gd name="T47" fmla="*/ 685 h 776"/>
                <a:gd name="T48" fmla="*/ 132 w 878"/>
                <a:gd name="T49" fmla="*/ 709 h 776"/>
                <a:gd name="T50" fmla="*/ 68 w 878"/>
                <a:gd name="T51" fmla="*/ 776 h 776"/>
                <a:gd name="T52" fmla="*/ 68 w 878"/>
                <a:gd name="T53" fmla="*/ 759 h 776"/>
                <a:gd name="T54" fmla="*/ 64 w 878"/>
                <a:gd name="T55" fmla="*/ 715 h 776"/>
                <a:gd name="T56" fmla="*/ 54 w 878"/>
                <a:gd name="T57" fmla="*/ 658 h 776"/>
                <a:gd name="T58" fmla="*/ 34 w 878"/>
                <a:gd name="T59" fmla="*/ 599 h 776"/>
                <a:gd name="T60" fmla="*/ 3 w 878"/>
                <a:gd name="T61" fmla="*/ 549 h 776"/>
                <a:gd name="T62" fmla="*/ 2 w 878"/>
                <a:gd name="T63" fmla="*/ 538 h 776"/>
                <a:gd name="T64" fmla="*/ 0 w 878"/>
                <a:gd name="T65" fmla="*/ 505 h 776"/>
                <a:gd name="T66" fmla="*/ 2 w 878"/>
                <a:gd name="T67" fmla="*/ 454 h 776"/>
                <a:gd name="T68" fmla="*/ 9 w 878"/>
                <a:gd name="T69" fmla="*/ 392 h 776"/>
                <a:gd name="T70" fmla="*/ 28 w 878"/>
                <a:gd name="T71" fmla="*/ 323 h 776"/>
                <a:gd name="T72" fmla="*/ 60 w 878"/>
                <a:gd name="T73" fmla="*/ 252 h 776"/>
                <a:gd name="T74" fmla="*/ 110 w 878"/>
                <a:gd name="T75" fmla="*/ 180 h 776"/>
                <a:gd name="T76" fmla="*/ 179 w 878"/>
                <a:gd name="T77" fmla="*/ 116 h 776"/>
                <a:gd name="T78" fmla="*/ 168 w 878"/>
                <a:gd name="T79" fmla="*/ 66 h 776"/>
                <a:gd name="T80" fmla="*/ 253 w 878"/>
                <a:gd name="T81" fmla="*/ 39 h 776"/>
                <a:gd name="T82" fmla="*/ 349 w 878"/>
                <a:gd name="T83" fmla="*/ 18 h 776"/>
                <a:gd name="T84" fmla="*/ 442 w 878"/>
                <a:gd name="T85" fmla="*/ 5 h 776"/>
                <a:gd name="T86" fmla="*/ 521 w 878"/>
                <a:gd name="T87" fmla="*/ 0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78" h="776">
                  <a:moveTo>
                    <a:pt x="521" y="0"/>
                  </a:moveTo>
                  <a:lnTo>
                    <a:pt x="573" y="1"/>
                  </a:lnTo>
                  <a:lnTo>
                    <a:pt x="620" y="6"/>
                  </a:lnTo>
                  <a:lnTo>
                    <a:pt x="662" y="13"/>
                  </a:lnTo>
                  <a:lnTo>
                    <a:pt x="700" y="24"/>
                  </a:lnTo>
                  <a:lnTo>
                    <a:pt x="735" y="38"/>
                  </a:lnTo>
                  <a:lnTo>
                    <a:pt x="765" y="54"/>
                  </a:lnTo>
                  <a:lnTo>
                    <a:pt x="791" y="71"/>
                  </a:lnTo>
                  <a:lnTo>
                    <a:pt x="813" y="89"/>
                  </a:lnTo>
                  <a:lnTo>
                    <a:pt x="833" y="107"/>
                  </a:lnTo>
                  <a:lnTo>
                    <a:pt x="847" y="127"/>
                  </a:lnTo>
                  <a:lnTo>
                    <a:pt x="860" y="145"/>
                  </a:lnTo>
                  <a:lnTo>
                    <a:pt x="868" y="163"/>
                  </a:lnTo>
                  <a:lnTo>
                    <a:pt x="875" y="179"/>
                  </a:lnTo>
                  <a:lnTo>
                    <a:pt x="877" y="193"/>
                  </a:lnTo>
                  <a:lnTo>
                    <a:pt x="878" y="219"/>
                  </a:lnTo>
                  <a:lnTo>
                    <a:pt x="877" y="245"/>
                  </a:lnTo>
                  <a:lnTo>
                    <a:pt x="872" y="270"/>
                  </a:lnTo>
                  <a:lnTo>
                    <a:pt x="865" y="294"/>
                  </a:lnTo>
                  <a:lnTo>
                    <a:pt x="852" y="315"/>
                  </a:lnTo>
                  <a:lnTo>
                    <a:pt x="838" y="336"/>
                  </a:lnTo>
                  <a:lnTo>
                    <a:pt x="817" y="354"/>
                  </a:lnTo>
                  <a:lnTo>
                    <a:pt x="793" y="370"/>
                  </a:lnTo>
                  <a:lnTo>
                    <a:pt x="765" y="385"/>
                  </a:lnTo>
                  <a:lnTo>
                    <a:pt x="730" y="397"/>
                  </a:lnTo>
                  <a:lnTo>
                    <a:pt x="692" y="407"/>
                  </a:lnTo>
                  <a:lnTo>
                    <a:pt x="648" y="415"/>
                  </a:lnTo>
                  <a:lnTo>
                    <a:pt x="599" y="418"/>
                  </a:lnTo>
                  <a:lnTo>
                    <a:pt x="543" y="421"/>
                  </a:lnTo>
                  <a:lnTo>
                    <a:pt x="510" y="420"/>
                  </a:lnTo>
                  <a:lnTo>
                    <a:pt x="477" y="417"/>
                  </a:lnTo>
                  <a:lnTo>
                    <a:pt x="442" y="413"/>
                  </a:lnTo>
                  <a:lnTo>
                    <a:pt x="409" y="412"/>
                  </a:lnTo>
                  <a:lnTo>
                    <a:pt x="374" y="412"/>
                  </a:lnTo>
                  <a:lnTo>
                    <a:pt x="339" y="415"/>
                  </a:lnTo>
                  <a:lnTo>
                    <a:pt x="304" y="422"/>
                  </a:lnTo>
                  <a:lnTo>
                    <a:pt x="267" y="434"/>
                  </a:lnTo>
                  <a:lnTo>
                    <a:pt x="229" y="453"/>
                  </a:lnTo>
                  <a:lnTo>
                    <a:pt x="204" y="471"/>
                  </a:lnTo>
                  <a:lnTo>
                    <a:pt x="182" y="492"/>
                  </a:lnTo>
                  <a:lnTo>
                    <a:pt x="166" y="517"/>
                  </a:lnTo>
                  <a:lnTo>
                    <a:pt x="154" y="543"/>
                  </a:lnTo>
                  <a:lnTo>
                    <a:pt x="144" y="569"/>
                  </a:lnTo>
                  <a:lnTo>
                    <a:pt x="138" y="596"/>
                  </a:lnTo>
                  <a:lnTo>
                    <a:pt x="133" y="622"/>
                  </a:lnTo>
                  <a:lnTo>
                    <a:pt x="131" y="646"/>
                  </a:lnTo>
                  <a:lnTo>
                    <a:pt x="131" y="668"/>
                  </a:lnTo>
                  <a:lnTo>
                    <a:pt x="131" y="685"/>
                  </a:lnTo>
                  <a:lnTo>
                    <a:pt x="132" y="700"/>
                  </a:lnTo>
                  <a:lnTo>
                    <a:pt x="132" y="709"/>
                  </a:lnTo>
                  <a:lnTo>
                    <a:pt x="133" y="711"/>
                  </a:lnTo>
                  <a:lnTo>
                    <a:pt x="68" y="776"/>
                  </a:lnTo>
                  <a:lnTo>
                    <a:pt x="68" y="772"/>
                  </a:lnTo>
                  <a:lnTo>
                    <a:pt x="68" y="759"/>
                  </a:lnTo>
                  <a:lnTo>
                    <a:pt x="66" y="739"/>
                  </a:lnTo>
                  <a:lnTo>
                    <a:pt x="64" y="715"/>
                  </a:lnTo>
                  <a:lnTo>
                    <a:pt x="60" y="688"/>
                  </a:lnTo>
                  <a:lnTo>
                    <a:pt x="54" y="658"/>
                  </a:lnTo>
                  <a:lnTo>
                    <a:pt x="45" y="627"/>
                  </a:lnTo>
                  <a:lnTo>
                    <a:pt x="34" y="599"/>
                  </a:lnTo>
                  <a:lnTo>
                    <a:pt x="21" y="571"/>
                  </a:lnTo>
                  <a:lnTo>
                    <a:pt x="3" y="549"/>
                  </a:lnTo>
                  <a:lnTo>
                    <a:pt x="2" y="547"/>
                  </a:lnTo>
                  <a:lnTo>
                    <a:pt x="2" y="538"/>
                  </a:lnTo>
                  <a:lnTo>
                    <a:pt x="1" y="523"/>
                  </a:lnTo>
                  <a:lnTo>
                    <a:pt x="0" y="505"/>
                  </a:lnTo>
                  <a:lnTo>
                    <a:pt x="0" y="481"/>
                  </a:lnTo>
                  <a:lnTo>
                    <a:pt x="2" y="454"/>
                  </a:lnTo>
                  <a:lnTo>
                    <a:pt x="5" y="424"/>
                  </a:lnTo>
                  <a:lnTo>
                    <a:pt x="9" y="392"/>
                  </a:lnTo>
                  <a:lnTo>
                    <a:pt x="17" y="359"/>
                  </a:lnTo>
                  <a:lnTo>
                    <a:pt x="28" y="323"/>
                  </a:lnTo>
                  <a:lnTo>
                    <a:pt x="42" y="287"/>
                  </a:lnTo>
                  <a:lnTo>
                    <a:pt x="60" y="252"/>
                  </a:lnTo>
                  <a:lnTo>
                    <a:pt x="82" y="216"/>
                  </a:lnTo>
                  <a:lnTo>
                    <a:pt x="110" y="180"/>
                  </a:lnTo>
                  <a:lnTo>
                    <a:pt x="142" y="147"/>
                  </a:lnTo>
                  <a:lnTo>
                    <a:pt x="179" y="116"/>
                  </a:lnTo>
                  <a:lnTo>
                    <a:pt x="131" y="84"/>
                  </a:lnTo>
                  <a:lnTo>
                    <a:pt x="168" y="66"/>
                  </a:lnTo>
                  <a:lnTo>
                    <a:pt x="208" y="51"/>
                  </a:lnTo>
                  <a:lnTo>
                    <a:pt x="253" y="39"/>
                  </a:lnTo>
                  <a:lnTo>
                    <a:pt x="301" y="28"/>
                  </a:lnTo>
                  <a:lnTo>
                    <a:pt x="349" y="18"/>
                  </a:lnTo>
                  <a:lnTo>
                    <a:pt x="396" y="11"/>
                  </a:lnTo>
                  <a:lnTo>
                    <a:pt x="442" y="5"/>
                  </a:lnTo>
                  <a:lnTo>
                    <a:pt x="484" y="1"/>
                  </a:lnTo>
                  <a:lnTo>
                    <a:pt x="521" y="0"/>
                  </a:lnTo>
                  <a:close/>
                </a:path>
              </a:pathLst>
            </a:custGeom>
            <a:solidFill>
              <a:srgbClr val="2B0215"/>
            </a:solidFill>
            <a:ln w="0">
              <a:solidFill>
                <a:srgbClr val="2B021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2"/>
            <p:cNvSpPr>
              <a:spLocks/>
            </p:cNvSpPr>
            <p:nvPr/>
          </p:nvSpPr>
          <p:spPr bwMode="auto">
            <a:xfrm>
              <a:off x="4965" y="2048"/>
              <a:ext cx="165" cy="165"/>
            </a:xfrm>
            <a:custGeom>
              <a:avLst/>
              <a:gdLst>
                <a:gd name="T0" fmla="*/ 154 w 661"/>
                <a:gd name="T1" fmla="*/ 38 h 660"/>
                <a:gd name="T2" fmla="*/ 123 w 661"/>
                <a:gd name="T3" fmla="*/ 111 h 660"/>
                <a:gd name="T4" fmla="*/ 110 w 661"/>
                <a:gd name="T5" fmla="*/ 176 h 660"/>
                <a:gd name="T6" fmla="*/ 107 w 661"/>
                <a:gd name="T7" fmla="*/ 228 h 660"/>
                <a:gd name="T8" fmla="*/ 110 w 661"/>
                <a:gd name="T9" fmla="*/ 263 h 660"/>
                <a:gd name="T10" fmla="*/ 112 w 661"/>
                <a:gd name="T11" fmla="*/ 276 h 660"/>
                <a:gd name="T12" fmla="*/ 189 w 661"/>
                <a:gd name="T13" fmla="*/ 239 h 660"/>
                <a:gd name="T14" fmla="*/ 259 w 661"/>
                <a:gd name="T15" fmla="*/ 224 h 660"/>
                <a:gd name="T16" fmla="*/ 326 w 661"/>
                <a:gd name="T17" fmla="*/ 227 h 660"/>
                <a:gd name="T18" fmla="*/ 389 w 661"/>
                <a:gd name="T19" fmla="*/ 239 h 660"/>
                <a:gd name="T20" fmla="*/ 452 w 661"/>
                <a:gd name="T21" fmla="*/ 258 h 660"/>
                <a:gd name="T22" fmla="*/ 517 w 661"/>
                <a:gd name="T23" fmla="*/ 278 h 660"/>
                <a:gd name="T24" fmla="*/ 585 w 661"/>
                <a:gd name="T25" fmla="*/ 292 h 660"/>
                <a:gd name="T26" fmla="*/ 661 w 661"/>
                <a:gd name="T27" fmla="*/ 296 h 660"/>
                <a:gd name="T28" fmla="*/ 585 w 661"/>
                <a:gd name="T29" fmla="*/ 304 h 660"/>
                <a:gd name="T30" fmla="*/ 510 w 661"/>
                <a:gd name="T31" fmla="*/ 304 h 660"/>
                <a:gd name="T32" fmla="*/ 442 w 661"/>
                <a:gd name="T33" fmla="*/ 297 h 660"/>
                <a:gd name="T34" fmla="*/ 374 w 661"/>
                <a:gd name="T35" fmla="*/ 296 h 660"/>
                <a:gd name="T36" fmla="*/ 304 w 661"/>
                <a:gd name="T37" fmla="*/ 306 h 660"/>
                <a:gd name="T38" fmla="*/ 229 w 661"/>
                <a:gd name="T39" fmla="*/ 337 h 660"/>
                <a:gd name="T40" fmla="*/ 182 w 661"/>
                <a:gd name="T41" fmla="*/ 376 h 660"/>
                <a:gd name="T42" fmla="*/ 154 w 661"/>
                <a:gd name="T43" fmla="*/ 427 h 660"/>
                <a:gd name="T44" fmla="*/ 138 w 661"/>
                <a:gd name="T45" fmla="*/ 480 h 660"/>
                <a:gd name="T46" fmla="*/ 131 w 661"/>
                <a:gd name="T47" fmla="*/ 530 h 660"/>
                <a:gd name="T48" fmla="*/ 131 w 661"/>
                <a:gd name="T49" fmla="*/ 569 h 660"/>
                <a:gd name="T50" fmla="*/ 132 w 661"/>
                <a:gd name="T51" fmla="*/ 593 h 660"/>
                <a:gd name="T52" fmla="*/ 68 w 661"/>
                <a:gd name="T53" fmla="*/ 660 h 660"/>
                <a:gd name="T54" fmla="*/ 68 w 661"/>
                <a:gd name="T55" fmla="*/ 643 h 660"/>
                <a:gd name="T56" fmla="*/ 64 w 661"/>
                <a:gd name="T57" fmla="*/ 599 h 660"/>
                <a:gd name="T58" fmla="*/ 54 w 661"/>
                <a:gd name="T59" fmla="*/ 542 h 660"/>
                <a:gd name="T60" fmla="*/ 34 w 661"/>
                <a:gd name="T61" fmla="*/ 483 h 660"/>
                <a:gd name="T62" fmla="*/ 3 w 661"/>
                <a:gd name="T63" fmla="*/ 433 h 660"/>
                <a:gd name="T64" fmla="*/ 2 w 661"/>
                <a:gd name="T65" fmla="*/ 422 h 660"/>
                <a:gd name="T66" fmla="*/ 0 w 661"/>
                <a:gd name="T67" fmla="*/ 389 h 660"/>
                <a:gd name="T68" fmla="*/ 2 w 661"/>
                <a:gd name="T69" fmla="*/ 338 h 660"/>
                <a:gd name="T70" fmla="*/ 9 w 661"/>
                <a:gd name="T71" fmla="*/ 276 h 660"/>
                <a:gd name="T72" fmla="*/ 28 w 661"/>
                <a:gd name="T73" fmla="*/ 207 h 660"/>
                <a:gd name="T74" fmla="*/ 60 w 661"/>
                <a:gd name="T75" fmla="*/ 136 h 660"/>
                <a:gd name="T76" fmla="*/ 110 w 661"/>
                <a:gd name="T77" fmla="*/ 64 h 660"/>
                <a:gd name="T78" fmla="*/ 179 w 661"/>
                <a:gd name="T79" fmla="*/ 0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1" h="660">
                  <a:moveTo>
                    <a:pt x="179" y="0"/>
                  </a:moveTo>
                  <a:lnTo>
                    <a:pt x="154" y="38"/>
                  </a:lnTo>
                  <a:lnTo>
                    <a:pt x="137" y="75"/>
                  </a:lnTo>
                  <a:lnTo>
                    <a:pt x="123" y="111"/>
                  </a:lnTo>
                  <a:lnTo>
                    <a:pt x="115" y="145"/>
                  </a:lnTo>
                  <a:lnTo>
                    <a:pt x="110" y="176"/>
                  </a:lnTo>
                  <a:lnTo>
                    <a:pt x="107" y="205"/>
                  </a:lnTo>
                  <a:lnTo>
                    <a:pt x="107" y="228"/>
                  </a:lnTo>
                  <a:lnTo>
                    <a:pt x="108" y="248"/>
                  </a:lnTo>
                  <a:lnTo>
                    <a:pt x="110" y="263"/>
                  </a:lnTo>
                  <a:lnTo>
                    <a:pt x="112" y="273"/>
                  </a:lnTo>
                  <a:lnTo>
                    <a:pt x="112" y="276"/>
                  </a:lnTo>
                  <a:lnTo>
                    <a:pt x="152" y="254"/>
                  </a:lnTo>
                  <a:lnTo>
                    <a:pt x="189" y="239"/>
                  </a:lnTo>
                  <a:lnTo>
                    <a:pt x="225" y="229"/>
                  </a:lnTo>
                  <a:lnTo>
                    <a:pt x="259" y="224"/>
                  </a:lnTo>
                  <a:lnTo>
                    <a:pt x="292" y="224"/>
                  </a:lnTo>
                  <a:lnTo>
                    <a:pt x="326" y="227"/>
                  </a:lnTo>
                  <a:lnTo>
                    <a:pt x="357" y="232"/>
                  </a:lnTo>
                  <a:lnTo>
                    <a:pt x="389" y="239"/>
                  </a:lnTo>
                  <a:lnTo>
                    <a:pt x="420" y="249"/>
                  </a:lnTo>
                  <a:lnTo>
                    <a:pt x="452" y="258"/>
                  </a:lnTo>
                  <a:lnTo>
                    <a:pt x="484" y="268"/>
                  </a:lnTo>
                  <a:lnTo>
                    <a:pt x="517" y="278"/>
                  </a:lnTo>
                  <a:lnTo>
                    <a:pt x="551" y="286"/>
                  </a:lnTo>
                  <a:lnTo>
                    <a:pt x="585" y="292"/>
                  </a:lnTo>
                  <a:lnTo>
                    <a:pt x="623" y="296"/>
                  </a:lnTo>
                  <a:lnTo>
                    <a:pt x="661" y="296"/>
                  </a:lnTo>
                  <a:lnTo>
                    <a:pt x="625" y="301"/>
                  </a:lnTo>
                  <a:lnTo>
                    <a:pt x="585" y="304"/>
                  </a:lnTo>
                  <a:lnTo>
                    <a:pt x="543" y="305"/>
                  </a:lnTo>
                  <a:lnTo>
                    <a:pt x="510" y="304"/>
                  </a:lnTo>
                  <a:lnTo>
                    <a:pt x="477" y="301"/>
                  </a:lnTo>
                  <a:lnTo>
                    <a:pt x="442" y="297"/>
                  </a:lnTo>
                  <a:lnTo>
                    <a:pt x="409" y="296"/>
                  </a:lnTo>
                  <a:lnTo>
                    <a:pt x="374" y="296"/>
                  </a:lnTo>
                  <a:lnTo>
                    <a:pt x="339" y="299"/>
                  </a:lnTo>
                  <a:lnTo>
                    <a:pt x="304" y="306"/>
                  </a:lnTo>
                  <a:lnTo>
                    <a:pt x="267" y="318"/>
                  </a:lnTo>
                  <a:lnTo>
                    <a:pt x="229" y="337"/>
                  </a:lnTo>
                  <a:lnTo>
                    <a:pt x="204" y="355"/>
                  </a:lnTo>
                  <a:lnTo>
                    <a:pt x="182" y="376"/>
                  </a:lnTo>
                  <a:lnTo>
                    <a:pt x="166" y="401"/>
                  </a:lnTo>
                  <a:lnTo>
                    <a:pt x="154" y="427"/>
                  </a:lnTo>
                  <a:lnTo>
                    <a:pt x="144" y="453"/>
                  </a:lnTo>
                  <a:lnTo>
                    <a:pt x="138" y="480"/>
                  </a:lnTo>
                  <a:lnTo>
                    <a:pt x="133" y="506"/>
                  </a:lnTo>
                  <a:lnTo>
                    <a:pt x="131" y="530"/>
                  </a:lnTo>
                  <a:lnTo>
                    <a:pt x="131" y="552"/>
                  </a:lnTo>
                  <a:lnTo>
                    <a:pt x="131" y="569"/>
                  </a:lnTo>
                  <a:lnTo>
                    <a:pt x="132" y="584"/>
                  </a:lnTo>
                  <a:lnTo>
                    <a:pt x="132" y="593"/>
                  </a:lnTo>
                  <a:lnTo>
                    <a:pt x="133" y="595"/>
                  </a:lnTo>
                  <a:lnTo>
                    <a:pt x="68" y="660"/>
                  </a:lnTo>
                  <a:lnTo>
                    <a:pt x="68" y="656"/>
                  </a:lnTo>
                  <a:lnTo>
                    <a:pt x="68" y="643"/>
                  </a:lnTo>
                  <a:lnTo>
                    <a:pt x="66" y="623"/>
                  </a:lnTo>
                  <a:lnTo>
                    <a:pt x="64" y="599"/>
                  </a:lnTo>
                  <a:lnTo>
                    <a:pt x="60" y="572"/>
                  </a:lnTo>
                  <a:lnTo>
                    <a:pt x="54" y="542"/>
                  </a:lnTo>
                  <a:lnTo>
                    <a:pt x="45" y="511"/>
                  </a:lnTo>
                  <a:lnTo>
                    <a:pt x="34" y="483"/>
                  </a:lnTo>
                  <a:lnTo>
                    <a:pt x="21" y="455"/>
                  </a:lnTo>
                  <a:lnTo>
                    <a:pt x="3" y="433"/>
                  </a:lnTo>
                  <a:lnTo>
                    <a:pt x="2" y="431"/>
                  </a:lnTo>
                  <a:lnTo>
                    <a:pt x="2" y="422"/>
                  </a:lnTo>
                  <a:lnTo>
                    <a:pt x="1" y="407"/>
                  </a:lnTo>
                  <a:lnTo>
                    <a:pt x="0" y="389"/>
                  </a:lnTo>
                  <a:lnTo>
                    <a:pt x="0" y="365"/>
                  </a:lnTo>
                  <a:lnTo>
                    <a:pt x="2" y="338"/>
                  </a:lnTo>
                  <a:lnTo>
                    <a:pt x="5" y="308"/>
                  </a:lnTo>
                  <a:lnTo>
                    <a:pt x="9" y="276"/>
                  </a:lnTo>
                  <a:lnTo>
                    <a:pt x="17" y="243"/>
                  </a:lnTo>
                  <a:lnTo>
                    <a:pt x="28" y="207"/>
                  </a:lnTo>
                  <a:lnTo>
                    <a:pt x="42" y="171"/>
                  </a:lnTo>
                  <a:lnTo>
                    <a:pt x="60" y="136"/>
                  </a:lnTo>
                  <a:lnTo>
                    <a:pt x="82" y="100"/>
                  </a:lnTo>
                  <a:lnTo>
                    <a:pt x="110" y="64"/>
                  </a:lnTo>
                  <a:lnTo>
                    <a:pt x="142" y="31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rgbClr val="0D000B"/>
            </a:solidFill>
            <a:ln w="0">
              <a:solidFill>
                <a:srgbClr val="0D000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3"/>
            <p:cNvSpPr>
              <a:spLocks/>
            </p:cNvSpPr>
            <p:nvPr/>
          </p:nvSpPr>
          <p:spPr bwMode="auto">
            <a:xfrm>
              <a:off x="4974" y="2188"/>
              <a:ext cx="33" cy="65"/>
            </a:xfrm>
            <a:custGeom>
              <a:avLst/>
              <a:gdLst>
                <a:gd name="T0" fmla="*/ 67 w 134"/>
                <a:gd name="T1" fmla="*/ 0 h 259"/>
                <a:gd name="T2" fmla="*/ 67 w 134"/>
                <a:gd name="T3" fmla="*/ 0 h 259"/>
                <a:gd name="T4" fmla="*/ 87 w 134"/>
                <a:gd name="T5" fmla="*/ 4 h 259"/>
                <a:gd name="T6" fmla="*/ 104 w 134"/>
                <a:gd name="T7" fmla="*/ 11 h 259"/>
                <a:gd name="T8" fmla="*/ 118 w 134"/>
                <a:gd name="T9" fmla="*/ 23 h 259"/>
                <a:gd name="T10" fmla="*/ 128 w 134"/>
                <a:gd name="T11" fmla="*/ 38 h 259"/>
                <a:gd name="T12" fmla="*/ 134 w 134"/>
                <a:gd name="T13" fmla="*/ 55 h 259"/>
                <a:gd name="T14" fmla="*/ 134 w 134"/>
                <a:gd name="T15" fmla="*/ 75 h 259"/>
                <a:gd name="T16" fmla="*/ 115 w 134"/>
                <a:gd name="T17" fmla="*/ 225 h 259"/>
                <a:gd name="T18" fmla="*/ 110 w 134"/>
                <a:gd name="T19" fmla="*/ 238 h 259"/>
                <a:gd name="T20" fmla="*/ 103 w 134"/>
                <a:gd name="T21" fmla="*/ 249 h 259"/>
                <a:gd name="T22" fmla="*/ 91 w 134"/>
                <a:gd name="T23" fmla="*/ 257 h 259"/>
                <a:gd name="T24" fmla="*/ 77 w 134"/>
                <a:gd name="T25" fmla="*/ 259 h 259"/>
                <a:gd name="T26" fmla="*/ 63 w 134"/>
                <a:gd name="T27" fmla="*/ 257 h 259"/>
                <a:gd name="T28" fmla="*/ 52 w 134"/>
                <a:gd name="T29" fmla="*/ 251 h 259"/>
                <a:gd name="T30" fmla="*/ 44 w 134"/>
                <a:gd name="T31" fmla="*/ 242 h 259"/>
                <a:gd name="T32" fmla="*/ 39 w 134"/>
                <a:gd name="T33" fmla="*/ 230 h 259"/>
                <a:gd name="T34" fmla="*/ 3 w 134"/>
                <a:gd name="T35" fmla="*/ 84 h 259"/>
                <a:gd name="T36" fmla="*/ 0 w 134"/>
                <a:gd name="T37" fmla="*/ 63 h 259"/>
                <a:gd name="T38" fmla="*/ 5 w 134"/>
                <a:gd name="T39" fmla="*/ 43 h 259"/>
                <a:gd name="T40" fmla="*/ 14 w 134"/>
                <a:gd name="T41" fmla="*/ 26 h 259"/>
                <a:gd name="T42" fmla="*/ 29 w 134"/>
                <a:gd name="T43" fmla="*/ 12 h 259"/>
                <a:gd name="T44" fmla="*/ 46 w 134"/>
                <a:gd name="T45" fmla="*/ 4 h 259"/>
                <a:gd name="T46" fmla="*/ 67 w 134"/>
                <a:gd name="T47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4" h="259">
                  <a:moveTo>
                    <a:pt x="67" y="0"/>
                  </a:moveTo>
                  <a:lnTo>
                    <a:pt x="67" y="0"/>
                  </a:lnTo>
                  <a:lnTo>
                    <a:pt x="87" y="4"/>
                  </a:lnTo>
                  <a:lnTo>
                    <a:pt x="104" y="11"/>
                  </a:lnTo>
                  <a:lnTo>
                    <a:pt x="118" y="23"/>
                  </a:lnTo>
                  <a:lnTo>
                    <a:pt x="128" y="38"/>
                  </a:lnTo>
                  <a:lnTo>
                    <a:pt x="134" y="55"/>
                  </a:lnTo>
                  <a:lnTo>
                    <a:pt x="134" y="75"/>
                  </a:lnTo>
                  <a:lnTo>
                    <a:pt x="115" y="225"/>
                  </a:lnTo>
                  <a:lnTo>
                    <a:pt x="110" y="238"/>
                  </a:lnTo>
                  <a:lnTo>
                    <a:pt x="103" y="249"/>
                  </a:lnTo>
                  <a:lnTo>
                    <a:pt x="91" y="257"/>
                  </a:lnTo>
                  <a:lnTo>
                    <a:pt x="77" y="259"/>
                  </a:lnTo>
                  <a:lnTo>
                    <a:pt x="63" y="257"/>
                  </a:lnTo>
                  <a:lnTo>
                    <a:pt x="52" y="251"/>
                  </a:lnTo>
                  <a:lnTo>
                    <a:pt x="44" y="242"/>
                  </a:lnTo>
                  <a:lnTo>
                    <a:pt x="39" y="230"/>
                  </a:lnTo>
                  <a:lnTo>
                    <a:pt x="3" y="84"/>
                  </a:lnTo>
                  <a:lnTo>
                    <a:pt x="0" y="63"/>
                  </a:lnTo>
                  <a:lnTo>
                    <a:pt x="5" y="43"/>
                  </a:lnTo>
                  <a:lnTo>
                    <a:pt x="14" y="26"/>
                  </a:lnTo>
                  <a:lnTo>
                    <a:pt x="29" y="12"/>
                  </a:lnTo>
                  <a:lnTo>
                    <a:pt x="46" y="4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E8AB6B"/>
            </a:solidFill>
            <a:ln w="0">
              <a:solidFill>
                <a:srgbClr val="E8AB6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4"/>
            <p:cNvSpPr>
              <a:spLocks/>
            </p:cNvSpPr>
            <p:nvPr/>
          </p:nvSpPr>
          <p:spPr bwMode="auto">
            <a:xfrm>
              <a:off x="5136" y="2472"/>
              <a:ext cx="72" cy="16"/>
            </a:xfrm>
            <a:custGeom>
              <a:avLst/>
              <a:gdLst>
                <a:gd name="T0" fmla="*/ 64 w 292"/>
                <a:gd name="T1" fmla="*/ 0 h 64"/>
                <a:gd name="T2" fmla="*/ 227 w 292"/>
                <a:gd name="T3" fmla="*/ 0 h 64"/>
                <a:gd name="T4" fmla="*/ 247 w 292"/>
                <a:gd name="T5" fmla="*/ 2 h 64"/>
                <a:gd name="T6" fmla="*/ 265 w 292"/>
                <a:gd name="T7" fmla="*/ 12 h 64"/>
                <a:gd name="T8" fmla="*/ 279 w 292"/>
                <a:gd name="T9" fmla="*/ 26 h 64"/>
                <a:gd name="T10" fmla="*/ 288 w 292"/>
                <a:gd name="T11" fmla="*/ 43 h 64"/>
                <a:gd name="T12" fmla="*/ 292 w 292"/>
                <a:gd name="T13" fmla="*/ 64 h 64"/>
                <a:gd name="T14" fmla="*/ 0 w 292"/>
                <a:gd name="T15" fmla="*/ 64 h 64"/>
                <a:gd name="T16" fmla="*/ 4 w 292"/>
                <a:gd name="T17" fmla="*/ 43 h 64"/>
                <a:gd name="T18" fmla="*/ 12 w 292"/>
                <a:gd name="T19" fmla="*/ 26 h 64"/>
                <a:gd name="T20" fmla="*/ 27 w 292"/>
                <a:gd name="T21" fmla="*/ 12 h 64"/>
                <a:gd name="T22" fmla="*/ 45 w 292"/>
                <a:gd name="T23" fmla="*/ 2 h 64"/>
                <a:gd name="T24" fmla="*/ 64 w 292"/>
                <a:gd name="T2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2" h="64">
                  <a:moveTo>
                    <a:pt x="64" y="0"/>
                  </a:moveTo>
                  <a:lnTo>
                    <a:pt x="227" y="0"/>
                  </a:lnTo>
                  <a:lnTo>
                    <a:pt x="247" y="2"/>
                  </a:lnTo>
                  <a:lnTo>
                    <a:pt x="265" y="12"/>
                  </a:lnTo>
                  <a:lnTo>
                    <a:pt x="279" y="26"/>
                  </a:lnTo>
                  <a:lnTo>
                    <a:pt x="288" y="43"/>
                  </a:lnTo>
                  <a:lnTo>
                    <a:pt x="292" y="6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2" y="26"/>
                  </a:lnTo>
                  <a:lnTo>
                    <a:pt x="27" y="12"/>
                  </a:lnTo>
                  <a:lnTo>
                    <a:pt x="45" y="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E8F3FF"/>
            </a:solidFill>
            <a:ln w="0">
              <a:solidFill>
                <a:srgbClr val="E8F3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5"/>
            <p:cNvSpPr>
              <a:spLocks/>
            </p:cNvSpPr>
            <p:nvPr/>
          </p:nvSpPr>
          <p:spPr bwMode="auto">
            <a:xfrm>
              <a:off x="5406" y="2024"/>
              <a:ext cx="291" cy="392"/>
            </a:xfrm>
            <a:custGeom>
              <a:avLst/>
              <a:gdLst>
                <a:gd name="T0" fmla="*/ 642 w 1163"/>
                <a:gd name="T1" fmla="*/ 2 h 1567"/>
                <a:gd name="T2" fmla="*/ 751 w 1163"/>
                <a:gd name="T3" fmla="*/ 21 h 1567"/>
                <a:gd name="T4" fmla="*/ 844 w 1163"/>
                <a:gd name="T5" fmla="*/ 58 h 1567"/>
                <a:gd name="T6" fmla="*/ 922 w 1163"/>
                <a:gd name="T7" fmla="*/ 109 h 1567"/>
                <a:gd name="T8" fmla="*/ 986 w 1163"/>
                <a:gd name="T9" fmla="*/ 175 h 1567"/>
                <a:gd name="T10" fmla="*/ 1038 w 1163"/>
                <a:gd name="T11" fmla="*/ 254 h 1567"/>
                <a:gd name="T12" fmla="*/ 1079 w 1163"/>
                <a:gd name="T13" fmla="*/ 344 h 1567"/>
                <a:gd name="T14" fmla="*/ 1109 w 1163"/>
                <a:gd name="T15" fmla="*/ 443 h 1567"/>
                <a:gd name="T16" fmla="*/ 1132 w 1163"/>
                <a:gd name="T17" fmla="*/ 549 h 1567"/>
                <a:gd name="T18" fmla="*/ 1148 w 1163"/>
                <a:gd name="T19" fmla="*/ 662 h 1567"/>
                <a:gd name="T20" fmla="*/ 1156 w 1163"/>
                <a:gd name="T21" fmla="*/ 778 h 1567"/>
                <a:gd name="T22" fmla="*/ 1161 w 1163"/>
                <a:gd name="T23" fmla="*/ 898 h 1567"/>
                <a:gd name="T24" fmla="*/ 1163 w 1163"/>
                <a:gd name="T25" fmla="*/ 1017 h 1567"/>
                <a:gd name="T26" fmla="*/ 1161 w 1163"/>
                <a:gd name="T27" fmla="*/ 1137 h 1567"/>
                <a:gd name="T28" fmla="*/ 1160 w 1163"/>
                <a:gd name="T29" fmla="*/ 1256 h 1567"/>
                <a:gd name="T30" fmla="*/ 1159 w 1163"/>
                <a:gd name="T31" fmla="*/ 1369 h 1567"/>
                <a:gd name="T32" fmla="*/ 1151 w 1163"/>
                <a:gd name="T33" fmla="*/ 1399 h 1567"/>
                <a:gd name="T34" fmla="*/ 1129 w 1163"/>
                <a:gd name="T35" fmla="*/ 1421 h 1567"/>
                <a:gd name="T36" fmla="*/ 1077 w 1163"/>
                <a:gd name="T37" fmla="*/ 1450 h 1567"/>
                <a:gd name="T38" fmla="*/ 1002 w 1163"/>
                <a:gd name="T39" fmla="*/ 1484 h 1567"/>
                <a:gd name="T40" fmla="*/ 906 w 1163"/>
                <a:gd name="T41" fmla="*/ 1519 h 1567"/>
                <a:gd name="T42" fmla="*/ 789 w 1163"/>
                <a:gd name="T43" fmla="*/ 1547 h 1567"/>
                <a:gd name="T44" fmla="*/ 655 w 1163"/>
                <a:gd name="T45" fmla="*/ 1565 h 1567"/>
                <a:gd name="T46" fmla="*/ 508 w 1163"/>
                <a:gd name="T47" fmla="*/ 1565 h 1567"/>
                <a:gd name="T48" fmla="*/ 373 w 1163"/>
                <a:gd name="T49" fmla="*/ 1547 h 1567"/>
                <a:gd name="T50" fmla="*/ 257 w 1163"/>
                <a:gd name="T51" fmla="*/ 1519 h 1567"/>
                <a:gd name="T52" fmla="*/ 160 w 1163"/>
                <a:gd name="T53" fmla="*/ 1484 h 1567"/>
                <a:gd name="T54" fmla="*/ 85 w 1163"/>
                <a:gd name="T55" fmla="*/ 1450 h 1567"/>
                <a:gd name="T56" fmla="*/ 33 w 1163"/>
                <a:gd name="T57" fmla="*/ 1421 h 1567"/>
                <a:gd name="T58" fmla="*/ 11 w 1163"/>
                <a:gd name="T59" fmla="*/ 1399 h 1567"/>
                <a:gd name="T60" fmla="*/ 3 w 1163"/>
                <a:gd name="T61" fmla="*/ 1369 h 1567"/>
                <a:gd name="T62" fmla="*/ 2 w 1163"/>
                <a:gd name="T63" fmla="*/ 1256 h 1567"/>
                <a:gd name="T64" fmla="*/ 0 w 1163"/>
                <a:gd name="T65" fmla="*/ 1137 h 1567"/>
                <a:gd name="T66" fmla="*/ 0 w 1163"/>
                <a:gd name="T67" fmla="*/ 1017 h 1567"/>
                <a:gd name="T68" fmla="*/ 1 w 1163"/>
                <a:gd name="T69" fmla="*/ 898 h 1567"/>
                <a:gd name="T70" fmla="*/ 5 w 1163"/>
                <a:gd name="T71" fmla="*/ 778 h 1567"/>
                <a:gd name="T72" fmla="*/ 14 w 1163"/>
                <a:gd name="T73" fmla="*/ 662 h 1567"/>
                <a:gd name="T74" fmla="*/ 29 w 1163"/>
                <a:gd name="T75" fmla="*/ 549 h 1567"/>
                <a:gd name="T76" fmla="*/ 53 w 1163"/>
                <a:gd name="T77" fmla="*/ 443 h 1567"/>
                <a:gd name="T78" fmla="*/ 84 w 1163"/>
                <a:gd name="T79" fmla="*/ 344 h 1567"/>
                <a:gd name="T80" fmla="*/ 124 w 1163"/>
                <a:gd name="T81" fmla="*/ 254 h 1567"/>
                <a:gd name="T82" fmla="*/ 176 w 1163"/>
                <a:gd name="T83" fmla="*/ 175 h 1567"/>
                <a:gd name="T84" fmla="*/ 241 w 1163"/>
                <a:gd name="T85" fmla="*/ 109 h 1567"/>
                <a:gd name="T86" fmla="*/ 318 w 1163"/>
                <a:gd name="T87" fmla="*/ 58 h 1567"/>
                <a:gd name="T88" fmla="*/ 411 w 1163"/>
                <a:gd name="T89" fmla="*/ 21 h 1567"/>
                <a:gd name="T90" fmla="*/ 520 w 1163"/>
                <a:gd name="T91" fmla="*/ 2 h 1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63" h="1567">
                  <a:moveTo>
                    <a:pt x="580" y="0"/>
                  </a:moveTo>
                  <a:lnTo>
                    <a:pt x="642" y="2"/>
                  </a:lnTo>
                  <a:lnTo>
                    <a:pt x="699" y="9"/>
                  </a:lnTo>
                  <a:lnTo>
                    <a:pt x="751" y="21"/>
                  </a:lnTo>
                  <a:lnTo>
                    <a:pt x="799" y="37"/>
                  </a:lnTo>
                  <a:lnTo>
                    <a:pt x="844" y="58"/>
                  </a:lnTo>
                  <a:lnTo>
                    <a:pt x="885" y="81"/>
                  </a:lnTo>
                  <a:lnTo>
                    <a:pt x="922" y="109"/>
                  </a:lnTo>
                  <a:lnTo>
                    <a:pt x="955" y="140"/>
                  </a:lnTo>
                  <a:lnTo>
                    <a:pt x="986" y="175"/>
                  </a:lnTo>
                  <a:lnTo>
                    <a:pt x="1013" y="213"/>
                  </a:lnTo>
                  <a:lnTo>
                    <a:pt x="1038" y="254"/>
                  </a:lnTo>
                  <a:lnTo>
                    <a:pt x="1060" y="297"/>
                  </a:lnTo>
                  <a:lnTo>
                    <a:pt x="1079" y="344"/>
                  </a:lnTo>
                  <a:lnTo>
                    <a:pt x="1096" y="392"/>
                  </a:lnTo>
                  <a:lnTo>
                    <a:pt x="1109" y="443"/>
                  </a:lnTo>
                  <a:lnTo>
                    <a:pt x="1122" y="495"/>
                  </a:lnTo>
                  <a:lnTo>
                    <a:pt x="1132" y="549"/>
                  </a:lnTo>
                  <a:lnTo>
                    <a:pt x="1140" y="605"/>
                  </a:lnTo>
                  <a:lnTo>
                    <a:pt x="1148" y="662"/>
                  </a:lnTo>
                  <a:lnTo>
                    <a:pt x="1153" y="720"/>
                  </a:lnTo>
                  <a:lnTo>
                    <a:pt x="1156" y="778"/>
                  </a:lnTo>
                  <a:lnTo>
                    <a:pt x="1160" y="837"/>
                  </a:lnTo>
                  <a:lnTo>
                    <a:pt x="1161" y="898"/>
                  </a:lnTo>
                  <a:lnTo>
                    <a:pt x="1163" y="957"/>
                  </a:lnTo>
                  <a:lnTo>
                    <a:pt x="1163" y="1017"/>
                  </a:lnTo>
                  <a:lnTo>
                    <a:pt x="1163" y="1078"/>
                  </a:lnTo>
                  <a:lnTo>
                    <a:pt x="1161" y="1137"/>
                  </a:lnTo>
                  <a:lnTo>
                    <a:pt x="1161" y="1196"/>
                  </a:lnTo>
                  <a:lnTo>
                    <a:pt x="1160" y="1256"/>
                  </a:lnTo>
                  <a:lnTo>
                    <a:pt x="1159" y="1313"/>
                  </a:lnTo>
                  <a:lnTo>
                    <a:pt x="1159" y="1369"/>
                  </a:lnTo>
                  <a:lnTo>
                    <a:pt x="1156" y="1385"/>
                  </a:lnTo>
                  <a:lnTo>
                    <a:pt x="1151" y="1399"/>
                  </a:lnTo>
                  <a:lnTo>
                    <a:pt x="1142" y="1411"/>
                  </a:lnTo>
                  <a:lnTo>
                    <a:pt x="1129" y="1421"/>
                  </a:lnTo>
                  <a:lnTo>
                    <a:pt x="1106" y="1435"/>
                  </a:lnTo>
                  <a:lnTo>
                    <a:pt x="1077" y="1450"/>
                  </a:lnTo>
                  <a:lnTo>
                    <a:pt x="1043" y="1467"/>
                  </a:lnTo>
                  <a:lnTo>
                    <a:pt x="1002" y="1484"/>
                  </a:lnTo>
                  <a:lnTo>
                    <a:pt x="956" y="1503"/>
                  </a:lnTo>
                  <a:lnTo>
                    <a:pt x="906" y="1519"/>
                  </a:lnTo>
                  <a:lnTo>
                    <a:pt x="850" y="1535"/>
                  </a:lnTo>
                  <a:lnTo>
                    <a:pt x="789" y="1547"/>
                  </a:lnTo>
                  <a:lnTo>
                    <a:pt x="724" y="1558"/>
                  </a:lnTo>
                  <a:lnTo>
                    <a:pt x="655" y="1565"/>
                  </a:lnTo>
                  <a:lnTo>
                    <a:pt x="580" y="1567"/>
                  </a:lnTo>
                  <a:lnTo>
                    <a:pt x="508" y="1565"/>
                  </a:lnTo>
                  <a:lnTo>
                    <a:pt x="438" y="1558"/>
                  </a:lnTo>
                  <a:lnTo>
                    <a:pt x="373" y="1547"/>
                  </a:lnTo>
                  <a:lnTo>
                    <a:pt x="312" y="1535"/>
                  </a:lnTo>
                  <a:lnTo>
                    <a:pt x="257" y="1519"/>
                  </a:lnTo>
                  <a:lnTo>
                    <a:pt x="206" y="1503"/>
                  </a:lnTo>
                  <a:lnTo>
                    <a:pt x="160" y="1484"/>
                  </a:lnTo>
                  <a:lnTo>
                    <a:pt x="119" y="1467"/>
                  </a:lnTo>
                  <a:lnTo>
                    <a:pt x="85" y="1450"/>
                  </a:lnTo>
                  <a:lnTo>
                    <a:pt x="56" y="1435"/>
                  </a:lnTo>
                  <a:lnTo>
                    <a:pt x="33" y="1421"/>
                  </a:lnTo>
                  <a:lnTo>
                    <a:pt x="21" y="1411"/>
                  </a:lnTo>
                  <a:lnTo>
                    <a:pt x="11" y="1399"/>
                  </a:lnTo>
                  <a:lnTo>
                    <a:pt x="5" y="1385"/>
                  </a:lnTo>
                  <a:lnTo>
                    <a:pt x="3" y="1369"/>
                  </a:lnTo>
                  <a:lnTo>
                    <a:pt x="2" y="1313"/>
                  </a:lnTo>
                  <a:lnTo>
                    <a:pt x="2" y="1256"/>
                  </a:lnTo>
                  <a:lnTo>
                    <a:pt x="1" y="1196"/>
                  </a:lnTo>
                  <a:lnTo>
                    <a:pt x="0" y="1137"/>
                  </a:lnTo>
                  <a:lnTo>
                    <a:pt x="0" y="1078"/>
                  </a:lnTo>
                  <a:lnTo>
                    <a:pt x="0" y="1017"/>
                  </a:lnTo>
                  <a:lnTo>
                    <a:pt x="0" y="957"/>
                  </a:lnTo>
                  <a:lnTo>
                    <a:pt x="1" y="898"/>
                  </a:lnTo>
                  <a:lnTo>
                    <a:pt x="2" y="837"/>
                  </a:lnTo>
                  <a:lnTo>
                    <a:pt x="5" y="778"/>
                  </a:lnTo>
                  <a:lnTo>
                    <a:pt x="9" y="720"/>
                  </a:lnTo>
                  <a:lnTo>
                    <a:pt x="14" y="662"/>
                  </a:lnTo>
                  <a:lnTo>
                    <a:pt x="22" y="605"/>
                  </a:lnTo>
                  <a:lnTo>
                    <a:pt x="29" y="549"/>
                  </a:lnTo>
                  <a:lnTo>
                    <a:pt x="40" y="495"/>
                  </a:lnTo>
                  <a:lnTo>
                    <a:pt x="53" y="443"/>
                  </a:lnTo>
                  <a:lnTo>
                    <a:pt x="66" y="392"/>
                  </a:lnTo>
                  <a:lnTo>
                    <a:pt x="84" y="344"/>
                  </a:lnTo>
                  <a:lnTo>
                    <a:pt x="102" y="297"/>
                  </a:lnTo>
                  <a:lnTo>
                    <a:pt x="124" y="254"/>
                  </a:lnTo>
                  <a:lnTo>
                    <a:pt x="149" y="213"/>
                  </a:lnTo>
                  <a:lnTo>
                    <a:pt x="176" y="175"/>
                  </a:lnTo>
                  <a:lnTo>
                    <a:pt x="206" y="140"/>
                  </a:lnTo>
                  <a:lnTo>
                    <a:pt x="241" y="109"/>
                  </a:lnTo>
                  <a:lnTo>
                    <a:pt x="278" y="81"/>
                  </a:lnTo>
                  <a:lnTo>
                    <a:pt x="318" y="58"/>
                  </a:lnTo>
                  <a:lnTo>
                    <a:pt x="363" y="37"/>
                  </a:lnTo>
                  <a:lnTo>
                    <a:pt x="411" y="21"/>
                  </a:lnTo>
                  <a:lnTo>
                    <a:pt x="463" y="9"/>
                  </a:lnTo>
                  <a:lnTo>
                    <a:pt x="520" y="2"/>
                  </a:lnTo>
                  <a:lnTo>
                    <a:pt x="580" y="0"/>
                  </a:lnTo>
                  <a:close/>
                </a:path>
              </a:pathLst>
            </a:custGeom>
            <a:solidFill>
              <a:srgbClr val="2B0215"/>
            </a:solidFill>
            <a:ln w="0">
              <a:solidFill>
                <a:srgbClr val="2B021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6"/>
            <p:cNvSpPr>
              <a:spLocks/>
            </p:cNvSpPr>
            <p:nvPr/>
          </p:nvSpPr>
          <p:spPr bwMode="auto">
            <a:xfrm>
              <a:off x="5406" y="2024"/>
              <a:ext cx="187" cy="392"/>
            </a:xfrm>
            <a:custGeom>
              <a:avLst/>
              <a:gdLst>
                <a:gd name="T0" fmla="*/ 538 w 746"/>
                <a:gd name="T1" fmla="*/ 0 h 1566"/>
                <a:gd name="T2" fmla="*/ 746 w 746"/>
                <a:gd name="T3" fmla="*/ 411 h 1566"/>
                <a:gd name="T4" fmla="*/ 580 w 746"/>
                <a:gd name="T5" fmla="*/ 1566 h 1566"/>
                <a:gd name="T6" fmla="*/ 508 w 746"/>
                <a:gd name="T7" fmla="*/ 1564 h 1566"/>
                <a:gd name="T8" fmla="*/ 438 w 746"/>
                <a:gd name="T9" fmla="*/ 1557 h 1566"/>
                <a:gd name="T10" fmla="*/ 373 w 746"/>
                <a:gd name="T11" fmla="*/ 1546 h 1566"/>
                <a:gd name="T12" fmla="*/ 312 w 746"/>
                <a:gd name="T13" fmla="*/ 1534 h 1566"/>
                <a:gd name="T14" fmla="*/ 257 w 746"/>
                <a:gd name="T15" fmla="*/ 1518 h 1566"/>
                <a:gd name="T16" fmla="*/ 206 w 746"/>
                <a:gd name="T17" fmla="*/ 1502 h 1566"/>
                <a:gd name="T18" fmla="*/ 160 w 746"/>
                <a:gd name="T19" fmla="*/ 1483 h 1566"/>
                <a:gd name="T20" fmla="*/ 119 w 746"/>
                <a:gd name="T21" fmla="*/ 1466 h 1566"/>
                <a:gd name="T22" fmla="*/ 85 w 746"/>
                <a:gd name="T23" fmla="*/ 1449 h 1566"/>
                <a:gd name="T24" fmla="*/ 56 w 746"/>
                <a:gd name="T25" fmla="*/ 1434 h 1566"/>
                <a:gd name="T26" fmla="*/ 33 w 746"/>
                <a:gd name="T27" fmla="*/ 1420 h 1566"/>
                <a:gd name="T28" fmla="*/ 21 w 746"/>
                <a:gd name="T29" fmla="*/ 1410 h 1566"/>
                <a:gd name="T30" fmla="*/ 11 w 746"/>
                <a:gd name="T31" fmla="*/ 1398 h 1566"/>
                <a:gd name="T32" fmla="*/ 5 w 746"/>
                <a:gd name="T33" fmla="*/ 1384 h 1566"/>
                <a:gd name="T34" fmla="*/ 3 w 746"/>
                <a:gd name="T35" fmla="*/ 1368 h 1566"/>
                <a:gd name="T36" fmla="*/ 2 w 746"/>
                <a:gd name="T37" fmla="*/ 1312 h 1566"/>
                <a:gd name="T38" fmla="*/ 2 w 746"/>
                <a:gd name="T39" fmla="*/ 1253 h 1566"/>
                <a:gd name="T40" fmla="*/ 1 w 746"/>
                <a:gd name="T41" fmla="*/ 1194 h 1566"/>
                <a:gd name="T42" fmla="*/ 0 w 746"/>
                <a:gd name="T43" fmla="*/ 1134 h 1566"/>
                <a:gd name="T44" fmla="*/ 0 w 746"/>
                <a:gd name="T45" fmla="*/ 1073 h 1566"/>
                <a:gd name="T46" fmla="*/ 0 w 746"/>
                <a:gd name="T47" fmla="*/ 1013 h 1566"/>
                <a:gd name="T48" fmla="*/ 0 w 746"/>
                <a:gd name="T49" fmla="*/ 952 h 1566"/>
                <a:gd name="T50" fmla="*/ 1 w 746"/>
                <a:gd name="T51" fmla="*/ 892 h 1566"/>
                <a:gd name="T52" fmla="*/ 2 w 746"/>
                <a:gd name="T53" fmla="*/ 831 h 1566"/>
                <a:gd name="T54" fmla="*/ 6 w 746"/>
                <a:gd name="T55" fmla="*/ 771 h 1566"/>
                <a:gd name="T56" fmla="*/ 9 w 746"/>
                <a:gd name="T57" fmla="*/ 711 h 1566"/>
                <a:gd name="T58" fmla="*/ 16 w 746"/>
                <a:gd name="T59" fmla="*/ 653 h 1566"/>
                <a:gd name="T60" fmla="*/ 22 w 746"/>
                <a:gd name="T61" fmla="*/ 596 h 1566"/>
                <a:gd name="T62" fmla="*/ 32 w 746"/>
                <a:gd name="T63" fmla="*/ 540 h 1566"/>
                <a:gd name="T64" fmla="*/ 42 w 746"/>
                <a:gd name="T65" fmla="*/ 485 h 1566"/>
                <a:gd name="T66" fmla="*/ 55 w 746"/>
                <a:gd name="T67" fmla="*/ 433 h 1566"/>
                <a:gd name="T68" fmla="*/ 70 w 746"/>
                <a:gd name="T69" fmla="*/ 383 h 1566"/>
                <a:gd name="T70" fmla="*/ 87 w 746"/>
                <a:gd name="T71" fmla="*/ 335 h 1566"/>
                <a:gd name="T72" fmla="*/ 107 w 746"/>
                <a:gd name="T73" fmla="*/ 288 h 1566"/>
                <a:gd name="T74" fmla="*/ 129 w 746"/>
                <a:gd name="T75" fmla="*/ 244 h 1566"/>
                <a:gd name="T76" fmla="*/ 154 w 746"/>
                <a:gd name="T77" fmla="*/ 204 h 1566"/>
                <a:gd name="T78" fmla="*/ 182 w 746"/>
                <a:gd name="T79" fmla="*/ 167 h 1566"/>
                <a:gd name="T80" fmla="*/ 215 w 746"/>
                <a:gd name="T81" fmla="*/ 132 h 1566"/>
                <a:gd name="T82" fmla="*/ 249 w 746"/>
                <a:gd name="T83" fmla="*/ 101 h 1566"/>
                <a:gd name="T84" fmla="*/ 288 w 746"/>
                <a:gd name="T85" fmla="*/ 74 h 1566"/>
                <a:gd name="T86" fmla="*/ 330 w 746"/>
                <a:gd name="T87" fmla="*/ 50 h 1566"/>
                <a:gd name="T88" fmla="*/ 377 w 746"/>
                <a:gd name="T89" fmla="*/ 32 h 1566"/>
                <a:gd name="T90" fmla="*/ 426 w 746"/>
                <a:gd name="T91" fmla="*/ 16 h 1566"/>
                <a:gd name="T92" fmla="*/ 480 w 746"/>
                <a:gd name="T93" fmla="*/ 6 h 1566"/>
                <a:gd name="T94" fmla="*/ 538 w 746"/>
                <a:gd name="T95" fmla="*/ 0 h 1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1566">
                  <a:moveTo>
                    <a:pt x="538" y="0"/>
                  </a:moveTo>
                  <a:lnTo>
                    <a:pt x="746" y="411"/>
                  </a:lnTo>
                  <a:lnTo>
                    <a:pt x="580" y="1566"/>
                  </a:lnTo>
                  <a:lnTo>
                    <a:pt x="508" y="1564"/>
                  </a:lnTo>
                  <a:lnTo>
                    <a:pt x="438" y="1557"/>
                  </a:lnTo>
                  <a:lnTo>
                    <a:pt x="373" y="1546"/>
                  </a:lnTo>
                  <a:lnTo>
                    <a:pt x="312" y="1534"/>
                  </a:lnTo>
                  <a:lnTo>
                    <a:pt x="257" y="1518"/>
                  </a:lnTo>
                  <a:lnTo>
                    <a:pt x="206" y="1502"/>
                  </a:lnTo>
                  <a:lnTo>
                    <a:pt x="160" y="1483"/>
                  </a:lnTo>
                  <a:lnTo>
                    <a:pt x="119" y="1466"/>
                  </a:lnTo>
                  <a:lnTo>
                    <a:pt x="85" y="1449"/>
                  </a:lnTo>
                  <a:lnTo>
                    <a:pt x="56" y="1434"/>
                  </a:lnTo>
                  <a:lnTo>
                    <a:pt x="33" y="1420"/>
                  </a:lnTo>
                  <a:lnTo>
                    <a:pt x="21" y="1410"/>
                  </a:lnTo>
                  <a:lnTo>
                    <a:pt x="11" y="1398"/>
                  </a:lnTo>
                  <a:lnTo>
                    <a:pt x="5" y="1384"/>
                  </a:lnTo>
                  <a:lnTo>
                    <a:pt x="3" y="1368"/>
                  </a:lnTo>
                  <a:lnTo>
                    <a:pt x="2" y="1312"/>
                  </a:lnTo>
                  <a:lnTo>
                    <a:pt x="2" y="1253"/>
                  </a:lnTo>
                  <a:lnTo>
                    <a:pt x="1" y="1194"/>
                  </a:lnTo>
                  <a:lnTo>
                    <a:pt x="0" y="1134"/>
                  </a:lnTo>
                  <a:lnTo>
                    <a:pt x="0" y="1073"/>
                  </a:lnTo>
                  <a:lnTo>
                    <a:pt x="0" y="1013"/>
                  </a:lnTo>
                  <a:lnTo>
                    <a:pt x="0" y="952"/>
                  </a:lnTo>
                  <a:lnTo>
                    <a:pt x="1" y="892"/>
                  </a:lnTo>
                  <a:lnTo>
                    <a:pt x="2" y="831"/>
                  </a:lnTo>
                  <a:lnTo>
                    <a:pt x="6" y="771"/>
                  </a:lnTo>
                  <a:lnTo>
                    <a:pt x="9" y="711"/>
                  </a:lnTo>
                  <a:lnTo>
                    <a:pt x="16" y="653"/>
                  </a:lnTo>
                  <a:lnTo>
                    <a:pt x="22" y="596"/>
                  </a:lnTo>
                  <a:lnTo>
                    <a:pt x="32" y="540"/>
                  </a:lnTo>
                  <a:lnTo>
                    <a:pt x="42" y="485"/>
                  </a:lnTo>
                  <a:lnTo>
                    <a:pt x="55" y="433"/>
                  </a:lnTo>
                  <a:lnTo>
                    <a:pt x="70" y="383"/>
                  </a:lnTo>
                  <a:lnTo>
                    <a:pt x="87" y="335"/>
                  </a:lnTo>
                  <a:lnTo>
                    <a:pt x="107" y="288"/>
                  </a:lnTo>
                  <a:lnTo>
                    <a:pt x="129" y="244"/>
                  </a:lnTo>
                  <a:lnTo>
                    <a:pt x="154" y="204"/>
                  </a:lnTo>
                  <a:lnTo>
                    <a:pt x="182" y="167"/>
                  </a:lnTo>
                  <a:lnTo>
                    <a:pt x="215" y="132"/>
                  </a:lnTo>
                  <a:lnTo>
                    <a:pt x="249" y="101"/>
                  </a:lnTo>
                  <a:lnTo>
                    <a:pt x="288" y="74"/>
                  </a:lnTo>
                  <a:lnTo>
                    <a:pt x="330" y="50"/>
                  </a:lnTo>
                  <a:lnTo>
                    <a:pt x="377" y="32"/>
                  </a:lnTo>
                  <a:lnTo>
                    <a:pt x="426" y="16"/>
                  </a:lnTo>
                  <a:lnTo>
                    <a:pt x="480" y="6"/>
                  </a:lnTo>
                  <a:lnTo>
                    <a:pt x="538" y="0"/>
                  </a:lnTo>
                  <a:close/>
                </a:path>
              </a:pathLst>
            </a:custGeom>
            <a:solidFill>
              <a:srgbClr val="0D000B"/>
            </a:solidFill>
            <a:ln w="0">
              <a:solidFill>
                <a:srgbClr val="0D000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7"/>
            <p:cNvSpPr>
              <a:spLocks/>
            </p:cNvSpPr>
            <p:nvPr/>
          </p:nvSpPr>
          <p:spPr bwMode="auto">
            <a:xfrm>
              <a:off x="5452" y="2024"/>
              <a:ext cx="245" cy="392"/>
            </a:xfrm>
            <a:custGeom>
              <a:avLst/>
              <a:gdLst>
                <a:gd name="T0" fmla="*/ 458 w 979"/>
                <a:gd name="T1" fmla="*/ 2 h 1567"/>
                <a:gd name="T2" fmla="*/ 567 w 979"/>
                <a:gd name="T3" fmla="*/ 21 h 1567"/>
                <a:gd name="T4" fmla="*/ 660 w 979"/>
                <a:gd name="T5" fmla="*/ 58 h 1567"/>
                <a:gd name="T6" fmla="*/ 738 w 979"/>
                <a:gd name="T7" fmla="*/ 109 h 1567"/>
                <a:gd name="T8" fmla="*/ 802 w 979"/>
                <a:gd name="T9" fmla="*/ 175 h 1567"/>
                <a:gd name="T10" fmla="*/ 854 w 979"/>
                <a:gd name="T11" fmla="*/ 254 h 1567"/>
                <a:gd name="T12" fmla="*/ 895 w 979"/>
                <a:gd name="T13" fmla="*/ 344 h 1567"/>
                <a:gd name="T14" fmla="*/ 925 w 979"/>
                <a:gd name="T15" fmla="*/ 443 h 1567"/>
                <a:gd name="T16" fmla="*/ 948 w 979"/>
                <a:gd name="T17" fmla="*/ 549 h 1567"/>
                <a:gd name="T18" fmla="*/ 964 w 979"/>
                <a:gd name="T19" fmla="*/ 662 h 1567"/>
                <a:gd name="T20" fmla="*/ 972 w 979"/>
                <a:gd name="T21" fmla="*/ 778 h 1567"/>
                <a:gd name="T22" fmla="*/ 977 w 979"/>
                <a:gd name="T23" fmla="*/ 898 h 1567"/>
                <a:gd name="T24" fmla="*/ 979 w 979"/>
                <a:gd name="T25" fmla="*/ 1017 h 1567"/>
                <a:gd name="T26" fmla="*/ 977 w 979"/>
                <a:gd name="T27" fmla="*/ 1137 h 1567"/>
                <a:gd name="T28" fmla="*/ 976 w 979"/>
                <a:gd name="T29" fmla="*/ 1256 h 1567"/>
                <a:gd name="T30" fmla="*/ 975 w 979"/>
                <a:gd name="T31" fmla="*/ 1369 h 1567"/>
                <a:gd name="T32" fmla="*/ 967 w 979"/>
                <a:gd name="T33" fmla="*/ 1399 h 1567"/>
                <a:gd name="T34" fmla="*/ 945 w 979"/>
                <a:gd name="T35" fmla="*/ 1421 h 1567"/>
                <a:gd name="T36" fmla="*/ 893 w 979"/>
                <a:gd name="T37" fmla="*/ 1450 h 1567"/>
                <a:gd name="T38" fmla="*/ 818 w 979"/>
                <a:gd name="T39" fmla="*/ 1484 h 1567"/>
                <a:gd name="T40" fmla="*/ 722 w 979"/>
                <a:gd name="T41" fmla="*/ 1519 h 1567"/>
                <a:gd name="T42" fmla="*/ 605 w 979"/>
                <a:gd name="T43" fmla="*/ 1547 h 1567"/>
                <a:gd name="T44" fmla="*/ 471 w 979"/>
                <a:gd name="T45" fmla="*/ 1565 h 1567"/>
                <a:gd name="T46" fmla="*/ 562 w 979"/>
                <a:gd name="T47" fmla="*/ 412 h 1567"/>
                <a:gd name="T48" fmla="*/ 468 w 979"/>
                <a:gd name="T49" fmla="*/ 442 h 1567"/>
                <a:gd name="T50" fmla="*/ 382 w 979"/>
                <a:gd name="T51" fmla="*/ 453 h 1567"/>
                <a:gd name="T52" fmla="*/ 300 w 979"/>
                <a:gd name="T53" fmla="*/ 452 h 1567"/>
                <a:gd name="T54" fmla="*/ 220 w 979"/>
                <a:gd name="T55" fmla="*/ 445 h 1567"/>
                <a:gd name="T56" fmla="*/ 137 w 979"/>
                <a:gd name="T57" fmla="*/ 439 h 1567"/>
                <a:gd name="T58" fmla="*/ 48 w 979"/>
                <a:gd name="T59" fmla="*/ 442 h 1567"/>
                <a:gd name="T60" fmla="*/ 0 w 979"/>
                <a:gd name="T61" fmla="*/ 445 h 1567"/>
                <a:gd name="T62" fmla="*/ 2 w 979"/>
                <a:gd name="T63" fmla="*/ 426 h 1567"/>
                <a:gd name="T64" fmla="*/ 7 w 979"/>
                <a:gd name="T65" fmla="*/ 389 h 1567"/>
                <a:gd name="T66" fmla="*/ 18 w 979"/>
                <a:gd name="T67" fmla="*/ 340 h 1567"/>
                <a:gd name="T68" fmla="*/ 34 w 979"/>
                <a:gd name="T69" fmla="*/ 284 h 1567"/>
                <a:gd name="T70" fmla="*/ 59 w 979"/>
                <a:gd name="T71" fmla="*/ 223 h 1567"/>
                <a:gd name="T72" fmla="*/ 92 w 979"/>
                <a:gd name="T73" fmla="*/ 163 h 1567"/>
                <a:gd name="T74" fmla="*/ 137 w 979"/>
                <a:gd name="T75" fmla="*/ 107 h 1567"/>
                <a:gd name="T76" fmla="*/ 194 w 979"/>
                <a:gd name="T77" fmla="*/ 59 h 1567"/>
                <a:gd name="T78" fmla="*/ 263 w 979"/>
                <a:gd name="T79" fmla="*/ 22 h 1567"/>
                <a:gd name="T80" fmla="*/ 348 w 979"/>
                <a:gd name="T81" fmla="*/ 2 h 1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79" h="1567">
                  <a:moveTo>
                    <a:pt x="396" y="0"/>
                  </a:moveTo>
                  <a:lnTo>
                    <a:pt x="458" y="2"/>
                  </a:lnTo>
                  <a:lnTo>
                    <a:pt x="515" y="9"/>
                  </a:lnTo>
                  <a:lnTo>
                    <a:pt x="567" y="21"/>
                  </a:lnTo>
                  <a:lnTo>
                    <a:pt x="615" y="37"/>
                  </a:lnTo>
                  <a:lnTo>
                    <a:pt x="660" y="58"/>
                  </a:lnTo>
                  <a:lnTo>
                    <a:pt x="701" y="81"/>
                  </a:lnTo>
                  <a:lnTo>
                    <a:pt x="738" y="109"/>
                  </a:lnTo>
                  <a:lnTo>
                    <a:pt x="771" y="140"/>
                  </a:lnTo>
                  <a:lnTo>
                    <a:pt x="802" y="175"/>
                  </a:lnTo>
                  <a:lnTo>
                    <a:pt x="829" y="213"/>
                  </a:lnTo>
                  <a:lnTo>
                    <a:pt x="854" y="254"/>
                  </a:lnTo>
                  <a:lnTo>
                    <a:pt x="876" y="297"/>
                  </a:lnTo>
                  <a:lnTo>
                    <a:pt x="895" y="344"/>
                  </a:lnTo>
                  <a:lnTo>
                    <a:pt x="912" y="392"/>
                  </a:lnTo>
                  <a:lnTo>
                    <a:pt x="925" y="443"/>
                  </a:lnTo>
                  <a:lnTo>
                    <a:pt x="938" y="495"/>
                  </a:lnTo>
                  <a:lnTo>
                    <a:pt x="948" y="549"/>
                  </a:lnTo>
                  <a:lnTo>
                    <a:pt x="956" y="605"/>
                  </a:lnTo>
                  <a:lnTo>
                    <a:pt x="964" y="662"/>
                  </a:lnTo>
                  <a:lnTo>
                    <a:pt x="969" y="720"/>
                  </a:lnTo>
                  <a:lnTo>
                    <a:pt x="972" y="778"/>
                  </a:lnTo>
                  <a:lnTo>
                    <a:pt x="976" y="837"/>
                  </a:lnTo>
                  <a:lnTo>
                    <a:pt x="977" y="898"/>
                  </a:lnTo>
                  <a:lnTo>
                    <a:pt x="979" y="957"/>
                  </a:lnTo>
                  <a:lnTo>
                    <a:pt x="979" y="1017"/>
                  </a:lnTo>
                  <a:lnTo>
                    <a:pt x="979" y="1078"/>
                  </a:lnTo>
                  <a:lnTo>
                    <a:pt x="977" y="1137"/>
                  </a:lnTo>
                  <a:lnTo>
                    <a:pt x="977" y="1196"/>
                  </a:lnTo>
                  <a:lnTo>
                    <a:pt x="976" y="1256"/>
                  </a:lnTo>
                  <a:lnTo>
                    <a:pt x="975" y="1313"/>
                  </a:lnTo>
                  <a:lnTo>
                    <a:pt x="975" y="1369"/>
                  </a:lnTo>
                  <a:lnTo>
                    <a:pt x="972" y="1385"/>
                  </a:lnTo>
                  <a:lnTo>
                    <a:pt x="967" y="1399"/>
                  </a:lnTo>
                  <a:lnTo>
                    <a:pt x="958" y="1411"/>
                  </a:lnTo>
                  <a:lnTo>
                    <a:pt x="945" y="1421"/>
                  </a:lnTo>
                  <a:lnTo>
                    <a:pt x="922" y="1435"/>
                  </a:lnTo>
                  <a:lnTo>
                    <a:pt x="893" y="1450"/>
                  </a:lnTo>
                  <a:lnTo>
                    <a:pt x="859" y="1467"/>
                  </a:lnTo>
                  <a:lnTo>
                    <a:pt x="818" y="1484"/>
                  </a:lnTo>
                  <a:lnTo>
                    <a:pt x="772" y="1503"/>
                  </a:lnTo>
                  <a:lnTo>
                    <a:pt x="722" y="1519"/>
                  </a:lnTo>
                  <a:lnTo>
                    <a:pt x="666" y="1535"/>
                  </a:lnTo>
                  <a:lnTo>
                    <a:pt x="605" y="1547"/>
                  </a:lnTo>
                  <a:lnTo>
                    <a:pt x="540" y="1558"/>
                  </a:lnTo>
                  <a:lnTo>
                    <a:pt x="471" y="1565"/>
                  </a:lnTo>
                  <a:lnTo>
                    <a:pt x="396" y="1567"/>
                  </a:lnTo>
                  <a:lnTo>
                    <a:pt x="562" y="412"/>
                  </a:lnTo>
                  <a:lnTo>
                    <a:pt x="514" y="429"/>
                  </a:lnTo>
                  <a:lnTo>
                    <a:pt x="468" y="442"/>
                  </a:lnTo>
                  <a:lnTo>
                    <a:pt x="424" y="449"/>
                  </a:lnTo>
                  <a:lnTo>
                    <a:pt x="382" y="453"/>
                  </a:lnTo>
                  <a:lnTo>
                    <a:pt x="341" y="453"/>
                  </a:lnTo>
                  <a:lnTo>
                    <a:pt x="300" y="452"/>
                  </a:lnTo>
                  <a:lnTo>
                    <a:pt x="259" y="449"/>
                  </a:lnTo>
                  <a:lnTo>
                    <a:pt x="220" y="445"/>
                  </a:lnTo>
                  <a:lnTo>
                    <a:pt x="179" y="442"/>
                  </a:lnTo>
                  <a:lnTo>
                    <a:pt x="137" y="439"/>
                  </a:lnTo>
                  <a:lnTo>
                    <a:pt x="94" y="439"/>
                  </a:lnTo>
                  <a:lnTo>
                    <a:pt x="48" y="442"/>
                  </a:lnTo>
                  <a:lnTo>
                    <a:pt x="0" y="448"/>
                  </a:lnTo>
                  <a:lnTo>
                    <a:pt x="0" y="445"/>
                  </a:lnTo>
                  <a:lnTo>
                    <a:pt x="1" y="438"/>
                  </a:lnTo>
                  <a:lnTo>
                    <a:pt x="2" y="426"/>
                  </a:lnTo>
                  <a:lnTo>
                    <a:pt x="5" y="408"/>
                  </a:lnTo>
                  <a:lnTo>
                    <a:pt x="7" y="389"/>
                  </a:lnTo>
                  <a:lnTo>
                    <a:pt x="12" y="366"/>
                  </a:lnTo>
                  <a:lnTo>
                    <a:pt x="18" y="340"/>
                  </a:lnTo>
                  <a:lnTo>
                    <a:pt x="26" y="313"/>
                  </a:lnTo>
                  <a:lnTo>
                    <a:pt x="34" y="284"/>
                  </a:lnTo>
                  <a:lnTo>
                    <a:pt x="45" y="254"/>
                  </a:lnTo>
                  <a:lnTo>
                    <a:pt x="59" y="223"/>
                  </a:lnTo>
                  <a:lnTo>
                    <a:pt x="75" y="193"/>
                  </a:lnTo>
                  <a:lnTo>
                    <a:pt x="92" y="163"/>
                  </a:lnTo>
                  <a:lnTo>
                    <a:pt x="113" y="134"/>
                  </a:lnTo>
                  <a:lnTo>
                    <a:pt x="137" y="107"/>
                  </a:lnTo>
                  <a:lnTo>
                    <a:pt x="164" y="81"/>
                  </a:lnTo>
                  <a:lnTo>
                    <a:pt x="194" y="59"/>
                  </a:lnTo>
                  <a:lnTo>
                    <a:pt x="227" y="38"/>
                  </a:lnTo>
                  <a:lnTo>
                    <a:pt x="263" y="22"/>
                  </a:lnTo>
                  <a:lnTo>
                    <a:pt x="304" y="9"/>
                  </a:lnTo>
                  <a:lnTo>
                    <a:pt x="348" y="2"/>
                  </a:lnTo>
                  <a:lnTo>
                    <a:pt x="396" y="0"/>
                  </a:lnTo>
                  <a:close/>
                </a:path>
              </a:pathLst>
            </a:custGeom>
            <a:solidFill>
              <a:srgbClr val="2B0215"/>
            </a:solidFill>
            <a:ln w="0">
              <a:solidFill>
                <a:srgbClr val="2B021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8"/>
            <p:cNvSpPr>
              <a:spLocks/>
            </p:cNvSpPr>
            <p:nvPr/>
          </p:nvSpPr>
          <p:spPr bwMode="auto">
            <a:xfrm>
              <a:off x="5608" y="2035"/>
              <a:ext cx="89" cy="373"/>
            </a:xfrm>
            <a:custGeom>
              <a:avLst/>
              <a:gdLst>
                <a:gd name="T0" fmla="*/ 57 w 356"/>
                <a:gd name="T1" fmla="*/ 25 h 1493"/>
                <a:gd name="T2" fmla="*/ 138 w 356"/>
                <a:gd name="T3" fmla="*/ 86 h 1493"/>
                <a:gd name="T4" fmla="*/ 204 w 356"/>
                <a:gd name="T5" fmla="*/ 167 h 1493"/>
                <a:gd name="T6" fmla="*/ 256 w 356"/>
                <a:gd name="T7" fmla="*/ 259 h 1493"/>
                <a:gd name="T8" fmla="*/ 294 w 356"/>
                <a:gd name="T9" fmla="*/ 366 h 1493"/>
                <a:gd name="T10" fmla="*/ 321 w 356"/>
                <a:gd name="T11" fmla="*/ 482 h 1493"/>
                <a:gd name="T12" fmla="*/ 340 w 356"/>
                <a:gd name="T13" fmla="*/ 605 h 1493"/>
                <a:gd name="T14" fmla="*/ 349 w 356"/>
                <a:gd name="T15" fmla="*/ 735 h 1493"/>
                <a:gd name="T16" fmla="*/ 354 w 356"/>
                <a:gd name="T17" fmla="*/ 867 h 1493"/>
                <a:gd name="T18" fmla="*/ 356 w 356"/>
                <a:gd name="T19" fmla="*/ 1001 h 1493"/>
                <a:gd name="T20" fmla="*/ 354 w 356"/>
                <a:gd name="T21" fmla="*/ 1133 h 1493"/>
                <a:gd name="T22" fmla="*/ 353 w 356"/>
                <a:gd name="T23" fmla="*/ 1262 h 1493"/>
                <a:gd name="T24" fmla="*/ 349 w 356"/>
                <a:gd name="T25" fmla="*/ 1341 h 1493"/>
                <a:gd name="T26" fmla="*/ 335 w 356"/>
                <a:gd name="T27" fmla="*/ 1367 h 1493"/>
                <a:gd name="T28" fmla="*/ 299 w 356"/>
                <a:gd name="T29" fmla="*/ 1391 h 1493"/>
                <a:gd name="T30" fmla="*/ 232 w 356"/>
                <a:gd name="T31" fmla="*/ 1424 h 1493"/>
                <a:gd name="T32" fmla="*/ 143 w 356"/>
                <a:gd name="T33" fmla="*/ 1460 h 1493"/>
                <a:gd name="T34" fmla="*/ 32 w 356"/>
                <a:gd name="T35" fmla="*/ 1493 h 1493"/>
                <a:gd name="T36" fmla="*/ 61 w 356"/>
                <a:gd name="T37" fmla="*/ 1459 h 1493"/>
                <a:gd name="T38" fmla="*/ 99 w 356"/>
                <a:gd name="T39" fmla="*/ 1401 h 1493"/>
                <a:gd name="T40" fmla="*/ 141 w 356"/>
                <a:gd name="T41" fmla="*/ 1320 h 1493"/>
                <a:gd name="T42" fmla="*/ 181 w 356"/>
                <a:gd name="T43" fmla="*/ 1222 h 1493"/>
                <a:gd name="T44" fmla="*/ 221 w 356"/>
                <a:gd name="T45" fmla="*/ 1108 h 1493"/>
                <a:gd name="T46" fmla="*/ 253 w 356"/>
                <a:gd name="T47" fmla="*/ 982 h 1493"/>
                <a:gd name="T48" fmla="*/ 277 w 356"/>
                <a:gd name="T49" fmla="*/ 847 h 1493"/>
                <a:gd name="T50" fmla="*/ 286 w 356"/>
                <a:gd name="T51" fmla="*/ 707 h 1493"/>
                <a:gd name="T52" fmla="*/ 280 w 356"/>
                <a:gd name="T53" fmla="*/ 563 h 1493"/>
                <a:gd name="T54" fmla="*/ 247 w 356"/>
                <a:gd name="T55" fmla="*/ 461 h 1493"/>
                <a:gd name="T56" fmla="*/ 202 w 356"/>
                <a:gd name="T57" fmla="*/ 413 h 1493"/>
                <a:gd name="T58" fmla="*/ 157 w 356"/>
                <a:gd name="T59" fmla="*/ 373 h 1493"/>
                <a:gd name="T60" fmla="*/ 112 w 356"/>
                <a:gd name="T61" fmla="*/ 331 h 1493"/>
                <a:gd name="T62" fmla="*/ 66 w 356"/>
                <a:gd name="T63" fmla="*/ 278 h 1493"/>
                <a:gd name="T64" fmla="*/ 22 w 356"/>
                <a:gd name="T65" fmla="*/ 203 h 1493"/>
                <a:gd name="T66" fmla="*/ 5 w 356"/>
                <a:gd name="T67" fmla="*/ 148 h 1493"/>
                <a:gd name="T68" fmla="*/ 0 w 356"/>
                <a:gd name="T69" fmla="*/ 90 h 1493"/>
                <a:gd name="T70" fmla="*/ 3 w 356"/>
                <a:gd name="T71" fmla="*/ 38 h 1493"/>
                <a:gd name="T72" fmla="*/ 8 w 356"/>
                <a:gd name="T73" fmla="*/ 0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6" h="1493">
                  <a:moveTo>
                    <a:pt x="8" y="0"/>
                  </a:moveTo>
                  <a:lnTo>
                    <a:pt x="57" y="25"/>
                  </a:lnTo>
                  <a:lnTo>
                    <a:pt x="100" y="53"/>
                  </a:lnTo>
                  <a:lnTo>
                    <a:pt x="138" y="86"/>
                  </a:lnTo>
                  <a:lnTo>
                    <a:pt x="173" y="125"/>
                  </a:lnTo>
                  <a:lnTo>
                    <a:pt x="204" y="167"/>
                  </a:lnTo>
                  <a:lnTo>
                    <a:pt x="231" y="211"/>
                  </a:lnTo>
                  <a:lnTo>
                    <a:pt x="256" y="259"/>
                  </a:lnTo>
                  <a:lnTo>
                    <a:pt x="275" y="311"/>
                  </a:lnTo>
                  <a:lnTo>
                    <a:pt x="294" y="366"/>
                  </a:lnTo>
                  <a:lnTo>
                    <a:pt x="309" y="422"/>
                  </a:lnTo>
                  <a:lnTo>
                    <a:pt x="321" y="482"/>
                  </a:lnTo>
                  <a:lnTo>
                    <a:pt x="331" y="542"/>
                  </a:lnTo>
                  <a:lnTo>
                    <a:pt x="340" y="605"/>
                  </a:lnTo>
                  <a:lnTo>
                    <a:pt x="346" y="669"/>
                  </a:lnTo>
                  <a:lnTo>
                    <a:pt x="349" y="735"/>
                  </a:lnTo>
                  <a:lnTo>
                    <a:pt x="353" y="800"/>
                  </a:lnTo>
                  <a:lnTo>
                    <a:pt x="354" y="867"/>
                  </a:lnTo>
                  <a:lnTo>
                    <a:pt x="356" y="934"/>
                  </a:lnTo>
                  <a:lnTo>
                    <a:pt x="356" y="1001"/>
                  </a:lnTo>
                  <a:lnTo>
                    <a:pt x="356" y="1067"/>
                  </a:lnTo>
                  <a:lnTo>
                    <a:pt x="354" y="1133"/>
                  </a:lnTo>
                  <a:lnTo>
                    <a:pt x="353" y="1198"/>
                  </a:lnTo>
                  <a:lnTo>
                    <a:pt x="353" y="1262"/>
                  </a:lnTo>
                  <a:lnTo>
                    <a:pt x="352" y="1325"/>
                  </a:lnTo>
                  <a:lnTo>
                    <a:pt x="349" y="1341"/>
                  </a:lnTo>
                  <a:lnTo>
                    <a:pt x="344" y="1355"/>
                  </a:lnTo>
                  <a:lnTo>
                    <a:pt x="335" y="1367"/>
                  </a:lnTo>
                  <a:lnTo>
                    <a:pt x="322" y="1377"/>
                  </a:lnTo>
                  <a:lnTo>
                    <a:pt x="299" y="1391"/>
                  </a:lnTo>
                  <a:lnTo>
                    <a:pt x="268" y="1407"/>
                  </a:lnTo>
                  <a:lnTo>
                    <a:pt x="232" y="1424"/>
                  </a:lnTo>
                  <a:lnTo>
                    <a:pt x="190" y="1443"/>
                  </a:lnTo>
                  <a:lnTo>
                    <a:pt x="143" y="1460"/>
                  </a:lnTo>
                  <a:lnTo>
                    <a:pt x="90" y="1477"/>
                  </a:lnTo>
                  <a:lnTo>
                    <a:pt x="32" y="1493"/>
                  </a:lnTo>
                  <a:lnTo>
                    <a:pt x="45" y="1479"/>
                  </a:lnTo>
                  <a:lnTo>
                    <a:pt x="61" y="1459"/>
                  </a:lnTo>
                  <a:lnTo>
                    <a:pt x="80" y="1433"/>
                  </a:lnTo>
                  <a:lnTo>
                    <a:pt x="99" y="1401"/>
                  </a:lnTo>
                  <a:lnTo>
                    <a:pt x="120" y="1362"/>
                  </a:lnTo>
                  <a:lnTo>
                    <a:pt x="141" y="1320"/>
                  </a:lnTo>
                  <a:lnTo>
                    <a:pt x="162" y="1273"/>
                  </a:lnTo>
                  <a:lnTo>
                    <a:pt x="181" y="1222"/>
                  </a:lnTo>
                  <a:lnTo>
                    <a:pt x="202" y="1167"/>
                  </a:lnTo>
                  <a:lnTo>
                    <a:pt x="221" y="1108"/>
                  </a:lnTo>
                  <a:lnTo>
                    <a:pt x="238" y="1046"/>
                  </a:lnTo>
                  <a:lnTo>
                    <a:pt x="253" y="982"/>
                  </a:lnTo>
                  <a:lnTo>
                    <a:pt x="267" y="917"/>
                  </a:lnTo>
                  <a:lnTo>
                    <a:pt x="277" y="847"/>
                  </a:lnTo>
                  <a:lnTo>
                    <a:pt x="283" y="778"/>
                  </a:lnTo>
                  <a:lnTo>
                    <a:pt x="286" y="707"/>
                  </a:lnTo>
                  <a:lnTo>
                    <a:pt x="285" y="635"/>
                  </a:lnTo>
                  <a:lnTo>
                    <a:pt x="280" y="563"/>
                  </a:lnTo>
                  <a:lnTo>
                    <a:pt x="269" y="492"/>
                  </a:lnTo>
                  <a:lnTo>
                    <a:pt x="247" y="461"/>
                  </a:lnTo>
                  <a:lnTo>
                    <a:pt x="225" y="435"/>
                  </a:lnTo>
                  <a:lnTo>
                    <a:pt x="202" y="413"/>
                  </a:lnTo>
                  <a:lnTo>
                    <a:pt x="179" y="392"/>
                  </a:lnTo>
                  <a:lnTo>
                    <a:pt x="157" y="373"/>
                  </a:lnTo>
                  <a:lnTo>
                    <a:pt x="134" y="353"/>
                  </a:lnTo>
                  <a:lnTo>
                    <a:pt x="112" y="331"/>
                  </a:lnTo>
                  <a:lnTo>
                    <a:pt x="90" y="308"/>
                  </a:lnTo>
                  <a:lnTo>
                    <a:pt x="66" y="278"/>
                  </a:lnTo>
                  <a:lnTo>
                    <a:pt x="44" y="245"/>
                  </a:lnTo>
                  <a:lnTo>
                    <a:pt x="22" y="203"/>
                  </a:lnTo>
                  <a:lnTo>
                    <a:pt x="12" y="177"/>
                  </a:lnTo>
                  <a:lnTo>
                    <a:pt x="5" y="148"/>
                  </a:lnTo>
                  <a:lnTo>
                    <a:pt x="1" y="120"/>
                  </a:lnTo>
                  <a:lnTo>
                    <a:pt x="0" y="90"/>
                  </a:lnTo>
                  <a:lnTo>
                    <a:pt x="1" y="63"/>
                  </a:lnTo>
                  <a:lnTo>
                    <a:pt x="3" y="38"/>
                  </a:lnTo>
                  <a:lnTo>
                    <a:pt x="6" y="1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481821"/>
            </a:solidFill>
            <a:ln w="0">
              <a:solidFill>
                <a:srgbClr val="48182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9"/>
            <p:cNvSpPr>
              <a:spLocks/>
            </p:cNvSpPr>
            <p:nvPr/>
          </p:nvSpPr>
          <p:spPr bwMode="auto">
            <a:xfrm>
              <a:off x="5376" y="2315"/>
              <a:ext cx="351" cy="173"/>
            </a:xfrm>
            <a:custGeom>
              <a:avLst/>
              <a:gdLst>
                <a:gd name="T0" fmla="*/ 494 w 1403"/>
                <a:gd name="T1" fmla="*/ 0 h 692"/>
                <a:gd name="T2" fmla="*/ 907 w 1403"/>
                <a:gd name="T3" fmla="*/ 0 h 692"/>
                <a:gd name="T4" fmla="*/ 907 w 1403"/>
                <a:gd name="T5" fmla="*/ 100 h 692"/>
                <a:gd name="T6" fmla="*/ 909 w 1403"/>
                <a:gd name="T7" fmla="*/ 120 h 692"/>
                <a:gd name="T8" fmla="*/ 917 w 1403"/>
                <a:gd name="T9" fmla="*/ 139 h 692"/>
                <a:gd name="T10" fmla="*/ 927 w 1403"/>
                <a:gd name="T11" fmla="*/ 153 h 692"/>
                <a:gd name="T12" fmla="*/ 941 w 1403"/>
                <a:gd name="T13" fmla="*/ 167 h 692"/>
                <a:gd name="T14" fmla="*/ 959 w 1403"/>
                <a:gd name="T15" fmla="*/ 177 h 692"/>
                <a:gd name="T16" fmla="*/ 1327 w 1403"/>
                <a:gd name="T17" fmla="*/ 330 h 692"/>
                <a:gd name="T18" fmla="*/ 1348 w 1403"/>
                <a:gd name="T19" fmla="*/ 342 h 692"/>
                <a:gd name="T20" fmla="*/ 1367 w 1403"/>
                <a:gd name="T21" fmla="*/ 357 h 692"/>
                <a:gd name="T22" fmla="*/ 1381 w 1403"/>
                <a:gd name="T23" fmla="*/ 376 h 692"/>
                <a:gd name="T24" fmla="*/ 1394 w 1403"/>
                <a:gd name="T25" fmla="*/ 397 h 692"/>
                <a:gd name="T26" fmla="*/ 1400 w 1403"/>
                <a:gd name="T27" fmla="*/ 420 h 692"/>
                <a:gd name="T28" fmla="*/ 1403 w 1403"/>
                <a:gd name="T29" fmla="*/ 445 h 692"/>
                <a:gd name="T30" fmla="*/ 1403 w 1403"/>
                <a:gd name="T31" fmla="*/ 609 h 692"/>
                <a:gd name="T32" fmla="*/ 1400 w 1403"/>
                <a:gd name="T33" fmla="*/ 631 h 692"/>
                <a:gd name="T34" fmla="*/ 1391 w 1403"/>
                <a:gd name="T35" fmla="*/ 651 h 692"/>
                <a:gd name="T36" fmla="*/ 1379 w 1403"/>
                <a:gd name="T37" fmla="*/ 667 h 692"/>
                <a:gd name="T38" fmla="*/ 1362 w 1403"/>
                <a:gd name="T39" fmla="*/ 681 h 692"/>
                <a:gd name="T40" fmla="*/ 1342 w 1403"/>
                <a:gd name="T41" fmla="*/ 690 h 692"/>
                <a:gd name="T42" fmla="*/ 1320 w 1403"/>
                <a:gd name="T43" fmla="*/ 692 h 692"/>
                <a:gd name="T44" fmla="*/ 81 w 1403"/>
                <a:gd name="T45" fmla="*/ 692 h 692"/>
                <a:gd name="T46" fmla="*/ 60 w 1403"/>
                <a:gd name="T47" fmla="*/ 690 h 692"/>
                <a:gd name="T48" fmla="*/ 40 w 1403"/>
                <a:gd name="T49" fmla="*/ 681 h 692"/>
                <a:gd name="T50" fmla="*/ 23 w 1403"/>
                <a:gd name="T51" fmla="*/ 667 h 692"/>
                <a:gd name="T52" fmla="*/ 11 w 1403"/>
                <a:gd name="T53" fmla="*/ 651 h 692"/>
                <a:gd name="T54" fmla="*/ 2 w 1403"/>
                <a:gd name="T55" fmla="*/ 631 h 692"/>
                <a:gd name="T56" fmla="*/ 0 w 1403"/>
                <a:gd name="T57" fmla="*/ 609 h 692"/>
                <a:gd name="T58" fmla="*/ 0 w 1403"/>
                <a:gd name="T59" fmla="*/ 445 h 692"/>
                <a:gd name="T60" fmla="*/ 2 w 1403"/>
                <a:gd name="T61" fmla="*/ 420 h 692"/>
                <a:gd name="T62" fmla="*/ 8 w 1403"/>
                <a:gd name="T63" fmla="*/ 397 h 692"/>
                <a:gd name="T64" fmla="*/ 19 w 1403"/>
                <a:gd name="T65" fmla="*/ 376 h 692"/>
                <a:gd name="T66" fmla="*/ 36 w 1403"/>
                <a:gd name="T67" fmla="*/ 357 h 692"/>
                <a:gd name="T68" fmla="*/ 54 w 1403"/>
                <a:gd name="T69" fmla="*/ 342 h 692"/>
                <a:gd name="T70" fmla="*/ 75 w 1403"/>
                <a:gd name="T71" fmla="*/ 330 h 692"/>
                <a:gd name="T72" fmla="*/ 443 w 1403"/>
                <a:gd name="T73" fmla="*/ 177 h 692"/>
                <a:gd name="T74" fmla="*/ 461 w 1403"/>
                <a:gd name="T75" fmla="*/ 167 h 692"/>
                <a:gd name="T76" fmla="*/ 476 w 1403"/>
                <a:gd name="T77" fmla="*/ 153 h 692"/>
                <a:gd name="T78" fmla="*/ 485 w 1403"/>
                <a:gd name="T79" fmla="*/ 139 h 692"/>
                <a:gd name="T80" fmla="*/ 493 w 1403"/>
                <a:gd name="T81" fmla="*/ 120 h 692"/>
                <a:gd name="T82" fmla="*/ 494 w 1403"/>
                <a:gd name="T83" fmla="*/ 100 h 692"/>
                <a:gd name="T84" fmla="*/ 494 w 1403"/>
                <a:gd name="T85" fmla="*/ 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3" h="692">
                  <a:moveTo>
                    <a:pt x="494" y="0"/>
                  </a:moveTo>
                  <a:lnTo>
                    <a:pt x="907" y="0"/>
                  </a:lnTo>
                  <a:lnTo>
                    <a:pt x="907" y="100"/>
                  </a:lnTo>
                  <a:lnTo>
                    <a:pt x="909" y="120"/>
                  </a:lnTo>
                  <a:lnTo>
                    <a:pt x="917" y="139"/>
                  </a:lnTo>
                  <a:lnTo>
                    <a:pt x="927" y="153"/>
                  </a:lnTo>
                  <a:lnTo>
                    <a:pt x="941" y="167"/>
                  </a:lnTo>
                  <a:lnTo>
                    <a:pt x="959" y="177"/>
                  </a:lnTo>
                  <a:lnTo>
                    <a:pt x="1327" y="330"/>
                  </a:lnTo>
                  <a:lnTo>
                    <a:pt x="1348" y="342"/>
                  </a:lnTo>
                  <a:lnTo>
                    <a:pt x="1367" y="357"/>
                  </a:lnTo>
                  <a:lnTo>
                    <a:pt x="1381" y="376"/>
                  </a:lnTo>
                  <a:lnTo>
                    <a:pt x="1394" y="397"/>
                  </a:lnTo>
                  <a:lnTo>
                    <a:pt x="1400" y="420"/>
                  </a:lnTo>
                  <a:lnTo>
                    <a:pt x="1403" y="445"/>
                  </a:lnTo>
                  <a:lnTo>
                    <a:pt x="1403" y="609"/>
                  </a:lnTo>
                  <a:lnTo>
                    <a:pt x="1400" y="631"/>
                  </a:lnTo>
                  <a:lnTo>
                    <a:pt x="1391" y="651"/>
                  </a:lnTo>
                  <a:lnTo>
                    <a:pt x="1379" y="667"/>
                  </a:lnTo>
                  <a:lnTo>
                    <a:pt x="1362" y="681"/>
                  </a:lnTo>
                  <a:lnTo>
                    <a:pt x="1342" y="690"/>
                  </a:lnTo>
                  <a:lnTo>
                    <a:pt x="1320" y="692"/>
                  </a:lnTo>
                  <a:lnTo>
                    <a:pt x="81" y="692"/>
                  </a:lnTo>
                  <a:lnTo>
                    <a:pt x="60" y="690"/>
                  </a:lnTo>
                  <a:lnTo>
                    <a:pt x="40" y="681"/>
                  </a:lnTo>
                  <a:lnTo>
                    <a:pt x="23" y="667"/>
                  </a:lnTo>
                  <a:lnTo>
                    <a:pt x="11" y="651"/>
                  </a:lnTo>
                  <a:lnTo>
                    <a:pt x="2" y="631"/>
                  </a:lnTo>
                  <a:lnTo>
                    <a:pt x="0" y="609"/>
                  </a:lnTo>
                  <a:lnTo>
                    <a:pt x="0" y="445"/>
                  </a:lnTo>
                  <a:lnTo>
                    <a:pt x="2" y="420"/>
                  </a:lnTo>
                  <a:lnTo>
                    <a:pt x="8" y="397"/>
                  </a:lnTo>
                  <a:lnTo>
                    <a:pt x="19" y="376"/>
                  </a:lnTo>
                  <a:lnTo>
                    <a:pt x="36" y="357"/>
                  </a:lnTo>
                  <a:lnTo>
                    <a:pt x="54" y="342"/>
                  </a:lnTo>
                  <a:lnTo>
                    <a:pt x="75" y="330"/>
                  </a:lnTo>
                  <a:lnTo>
                    <a:pt x="443" y="177"/>
                  </a:lnTo>
                  <a:lnTo>
                    <a:pt x="461" y="167"/>
                  </a:lnTo>
                  <a:lnTo>
                    <a:pt x="476" y="153"/>
                  </a:lnTo>
                  <a:lnTo>
                    <a:pt x="485" y="139"/>
                  </a:lnTo>
                  <a:lnTo>
                    <a:pt x="493" y="120"/>
                  </a:lnTo>
                  <a:lnTo>
                    <a:pt x="494" y="100"/>
                  </a:lnTo>
                  <a:lnTo>
                    <a:pt x="494" y="0"/>
                  </a:lnTo>
                  <a:close/>
                </a:path>
              </a:pathLst>
            </a:custGeom>
            <a:solidFill>
              <a:srgbClr val="E8AB6B"/>
            </a:solidFill>
            <a:ln w="0">
              <a:solidFill>
                <a:srgbClr val="E8AB6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0"/>
            <p:cNvSpPr>
              <a:spLocks/>
            </p:cNvSpPr>
            <p:nvPr/>
          </p:nvSpPr>
          <p:spPr bwMode="auto">
            <a:xfrm>
              <a:off x="5376" y="2360"/>
              <a:ext cx="351" cy="128"/>
            </a:xfrm>
            <a:custGeom>
              <a:avLst/>
              <a:gdLst>
                <a:gd name="T0" fmla="*/ 431 w 1403"/>
                <a:gd name="T1" fmla="*/ 0 h 510"/>
                <a:gd name="T2" fmla="*/ 700 w 1403"/>
                <a:gd name="T3" fmla="*/ 116 h 510"/>
                <a:gd name="T4" fmla="*/ 970 w 1403"/>
                <a:gd name="T5" fmla="*/ 0 h 510"/>
                <a:gd name="T6" fmla="*/ 1327 w 1403"/>
                <a:gd name="T7" fmla="*/ 148 h 510"/>
                <a:gd name="T8" fmla="*/ 1348 w 1403"/>
                <a:gd name="T9" fmla="*/ 160 h 510"/>
                <a:gd name="T10" fmla="*/ 1367 w 1403"/>
                <a:gd name="T11" fmla="*/ 175 h 510"/>
                <a:gd name="T12" fmla="*/ 1381 w 1403"/>
                <a:gd name="T13" fmla="*/ 194 h 510"/>
                <a:gd name="T14" fmla="*/ 1394 w 1403"/>
                <a:gd name="T15" fmla="*/ 215 h 510"/>
                <a:gd name="T16" fmla="*/ 1400 w 1403"/>
                <a:gd name="T17" fmla="*/ 238 h 510"/>
                <a:gd name="T18" fmla="*/ 1403 w 1403"/>
                <a:gd name="T19" fmla="*/ 263 h 510"/>
                <a:gd name="T20" fmla="*/ 1403 w 1403"/>
                <a:gd name="T21" fmla="*/ 427 h 510"/>
                <a:gd name="T22" fmla="*/ 1400 w 1403"/>
                <a:gd name="T23" fmla="*/ 449 h 510"/>
                <a:gd name="T24" fmla="*/ 1391 w 1403"/>
                <a:gd name="T25" fmla="*/ 469 h 510"/>
                <a:gd name="T26" fmla="*/ 1379 w 1403"/>
                <a:gd name="T27" fmla="*/ 485 h 510"/>
                <a:gd name="T28" fmla="*/ 1362 w 1403"/>
                <a:gd name="T29" fmla="*/ 499 h 510"/>
                <a:gd name="T30" fmla="*/ 1342 w 1403"/>
                <a:gd name="T31" fmla="*/ 508 h 510"/>
                <a:gd name="T32" fmla="*/ 1320 w 1403"/>
                <a:gd name="T33" fmla="*/ 510 h 510"/>
                <a:gd name="T34" fmla="*/ 81 w 1403"/>
                <a:gd name="T35" fmla="*/ 510 h 510"/>
                <a:gd name="T36" fmla="*/ 60 w 1403"/>
                <a:gd name="T37" fmla="*/ 508 h 510"/>
                <a:gd name="T38" fmla="*/ 40 w 1403"/>
                <a:gd name="T39" fmla="*/ 499 h 510"/>
                <a:gd name="T40" fmla="*/ 23 w 1403"/>
                <a:gd name="T41" fmla="*/ 485 h 510"/>
                <a:gd name="T42" fmla="*/ 11 w 1403"/>
                <a:gd name="T43" fmla="*/ 469 h 510"/>
                <a:gd name="T44" fmla="*/ 2 w 1403"/>
                <a:gd name="T45" fmla="*/ 449 h 510"/>
                <a:gd name="T46" fmla="*/ 0 w 1403"/>
                <a:gd name="T47" fmla="*/ 427 h 510"/>
                <a:gd name="T48" fmla="*/ 0 w 1403"/>
                <a:gd name="T49" fmla="*/ 263 h 510"/>
                <a:gd name="T50" fmla="*/ 2 w 1403"/>
                <a:gd name="T51" fmla="*/ 238 h 510"/>
                <a:gd name="T52" fmla="*/ 8 w 1403"/>
                <a:gd name="T53" fmla="*/ 215 h 510"/>
                <a:gd name="T54" fmla="*/ 19 w 1403"/>
                <a:gd name="T55" fmla="*/ 194 h 510"/>
                <a:gd name="T56" fmla="*/ 36 w 1403"/>
                <a:gd name="T57" fmla="*/ 175 h 510"/>
                <a:gd name="T58" fmla="*/ 54 w 1403"/>
                <a:gd name="T59" fmla="*/ 160 h 510"/>
                <a:gd name="T60" fmla="*/ 75 w 1403"/>
                <a:gd name="T61" fmla="*/ 148 h 510"/>
                <a:gd name="T62" fmla="*/ 431 w 1403"/>
                <a:gd name="T63" fmla="*/ 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03" h="510">
                  <a:moveTo>
                    <a:pt x="431" y="0"/>
                  </a:moveTo>
                  <a:lnTo>
                    <a:pt x="700" y="116"/>
                  </a:lnTo>
                  <a:lnTo>
                    <a:pt x="970" y="0"/>
                  </a:lnTo>
                  <a:lnTo>
                    <a:pt x="1327" y="148"/>
                  </a:lnTo>
                  <a:lnTo>
                    <a:pt x="1348" y="160"/>
                  </a:lnTo>
                  <a:lnTo>
                    <a:pt x="1367" y="175"/>
                  </a:lnTo>
                  <a:lnTo>
                    <a:pt x="1381" y="194"/>
                  </a:lnTo>
                  <a:lnTo>
                    <a:pt x="1394" y="215"/>
                  </a:lnTo>
                  <a:lnTo>
                    <a:pt x="1400" y="238"/>
                  </a:lnTo>
                  <a:lnTo>
                    <a:pt x="1403" y="263"/>
                  </a:lnTo>
                  <a:lnTo>
                    <a:pt x="1403" y="427"/>
                  </a:lnTo>
                  <a:lnTo>
                    <a:pt x="1400" y="449"/>
                  </a:lnTo>
                  <a:lnTo>
                    <a:pt x="1391" y="469"/>
                  </a:lnTo>
                  <a:lnTo>
                    <a:pt x="1379" y="485"/>
                  </a:lnTo>
                  <a:lnTo>
                    <a:pt x="1362" y="499"/>
                  </a:lnTo>
                  <a:lnTo>
                    <a:pt x="1342" y="508"/>
                  </a:lnTo>
                  <a:lnTo>
                    <a:pt x="1320" y="510"/>
                  </a:lnTo>
                  <a:lnTo>
                    <a:pt x="81" y="510"/>
                  </a:lnTo>
                  <a:lnTo>
                    <a:pt x="60" y="508"/>
                  </a:lnTo>
                  <a:lnTo>
                    <a:pt x="40" y="499"/>
                  </a:lnTo>
                  <a:lnTo>
                    <a:pt x="23" y="485"/>
                  </a:lnTo>
                  <a:lnTo>
                    <a:pt x="11" y="469"/>
                  </a:lnTo>
                  <a:lnTo>
                    <a:pt x="2" y="449"/>
                  </a:lnTo>
                  <a:lnTo>
                    <a:pt x="0" y="427"/>
                  </a:lnTo>
                  <a:lnTo>
                    <a:pt x="0" y="263"/>
                  </a:lnTo>
                  <a:lnTo>
                    <a:pt x="2" y="238"/>
                  </a:lnTo>
                  <a:lnTo>
                    <a:pt x="8" y="215"/>
                  </a:lnTo>
                  <a:lnTo>
                    <a:pt x="19" y="194"/>
                  </a:lnTo>
                  <a:lnTo>
                    <a:pt x="36" y="175"/>
                  </a:lnTo>
                  <a:lnTo>
                    <a:pt x="54" y="160"/>
                  </a:lnTo>
                  <a:lnTo>
                    <a:pt x="75" y="148"/>
                  </a:lnTo>
                  <a:lnTo>
                    <a:pt x="431" y="0"/>
                  </a:lnTo>
                  <a:close/>
                </a:path>
              </a:pathLst>
            </a:custGeom>
            <a:solidFill>
              <a:srgbClr val="BCFCFF"/>
            </a:solidFill>
            <a:ln w="0">
              <a:solidFill>
                <a:srgbClr val="BCFC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1"/>
            <p:cNvSpPr>
              <a:spLocks/>
            </p:cNvSpPr>
            <p:nvPr/>
          </p:nvSpPr>
          <p:spPr bwMode="auto">
            <a:xfrm>
              <a:off x="5473" y="2315"/>
              <a:ext cx="130" cy="56"/>
            </a:xfrm>
            <a:custGeom>
              <a:avLst/>
              <a:gdLst>
                <a:gd name="T0" fmla="*/ 107 w 520"/>
                <a:gd name="T1" fmla="*/ 0 h 225"/>
                <a:gd name="T2" fmla="*/ 520 w 520"/>
                <a:gd name="T3" fmla="*/ 0 h 225"/>
                <a:gd name="T4" fmla="*/ 520 w 520"/>
                <a:gd name="T5" fmla="*/ 3 h 225"/>
                <a:gd name="T6" fmla="*/ 519 w 520"/>
                <a:gd name="T7" fmla="*/ 8 h 225"/>
                <a:gd name="T8" fmla="*/ 515 w 520"/>
                <a:gd name="T9" fmla="*/ 16 h 225"/>
                <a:gd name="T10" fmla="*/ 511 w 520"/>
                <a:gd name="T11" fmla="*/ 27 h 225"/>
                <a:gd name="T12" fmla="*/ 505 w 520"/>
                <a:gd name="T13" fmla="*/ 41 h 225"/>
                <a:gd name="T14" fmla="*/ 496 w 520"/>
                <a:gd name="T15" fmla="*/ 56 h 225"/>
                <a:gd name="T16" fmla="*/ 487 w 520"/>
                <a:gd name="T17" fmla="*/ 72 h 225"/>
                <a:gd name="T18" fmla="*/ 475 w 520"/>
                <a:gd name="T19" fmla="*/ 89 h 225"/>
                <a:gd name="T20" fmla="*/ 461 w 520"/>
                <a:gd name="T21" fmla="*/ 108 h 225"/>
                <a:gd name="T22" fmla="*/ 444 w 520"/>
                <a:gd name="T23" fmla="*/ 125 h 225"/>
                <a:gd name="T24" fmla="*/ 425 w 520"/>
                <a:gd name="T25" fmla="*/ 142 h 225"/>
                <a:gd name="T26" fmla="*/ 402 w 520"/>
                <a:gd name="T27" fmla="*/ 160 h 225"/>
                <a:gd name="T28" fmla="*/ 378 w 520"/>
                <a:gd name="T29" fmla="*/ 176 h 225"/>
                <a:gd name="T30" fmla="*/ 351 w 520"/>
                <a:gd name="T31" fmla="*/ 191 h 225"/>
                <a:gd name="T32" fmla="*/ 320 w 520"/>
                <a:gd name="T33" fmla="*/ 203 h 225"/>
                <a:gd name="T34" fmla="*/ 285 w 520"/>
                <a:gd name="T35" fmla="*/ 213 h 225"/>
                <a:gd name="T36" fmla="*/ 247 w 520"/>
                <a:gd name="T37" fmla="*/ 220 h 225"/>
                <a:gd name="T38" fmla="*/ 206 w 520"/>
                <a:gd name="T39" fmla="*/ 224 h 225"/>
                <a:gd name="T40" fmla="*/ 160 w 520"/>
                <a:gd name="T41" fmla="*/ 225 h 225"/>
                <a:gd name="T42" fmla="*/ 111 w 520"/>
                <a:gd name="T43" fmla="*/ 221 h 225"/>
                <a:gd name="T44" fmla="*/ 58 w 520"/>
                <a:gd name="T45" fmla="*/ 214 h 225"/>
                <a:gd name="T46" fmla="*/ 0 w 520"/>
                <a:gd name="T47" fmla="*/ 200 h 225"/>
                <a:gd name="T48" fmla="*/ 56 w 520"/>
                <a:gd name="T49" fmla="*/ 177 h 225"/>
                <a:gd name="T50" fmla="*/ 74 w 520"/>
                <a:gd name="T51" fmla="*/ 167 h 225"/>
                <a:gd name="T52" fmla="*/ 89 w 520"/>
                <a:gd name="T53" fmla="*/ 153 h 225"/>
                <a:gd name="T54" fmla="*/ 98 w 520"/>
                <a:gd name="T55" fmla="*/ 139 h 225"/>
                <a:gd name="T56" fmla="*/ 106 w 520"/>
                <a:gd name="T57" fmla="*/ 120 h 225"/>
                <a:gd name="T58" fmla="*/ 107 w 520"/>
                <a:gd name="T59" fmla="*/ 100 h 225"/>
                <a:gd name="T60" fmla="*/ 107 w 520"/>
                <a:gd name="T61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20" h="225">
                  <a:moveTo>
                    <a:pt x="107" y="0"/>
                  </a:moveTo>
                  <a:lnTo>
                    <a:pt x="520" y="0"/>
                  </a:lnTo>
                  <a:lnTo>
                    <a:pt x="520" y="3"/>
                  </a:lnTo>
                  <a:lnTo>
                    <a:pt x="519" y="8"/>
                  </a:lnTo>
                  <a:lnTo>
                    <a:pt x="515" y="16"/>
                  </a:lnTo>
                  <a:lnTo>
                    <a:pt x="511" y="27"/>
                  </a:lnTo>
                  <a:lnTo>
                    <a:pt x="505" y="41"/>
                  </a:lnTo>
                  <a:lnTo>
                    <a:pt x="496" y="56"/>
                  </a:lnTo>
                  <a:lnTo>
                    <a:pt x="487" y="72"/>
                  </a:lnTo>
                  <a:lnTo>
                    <a:pt x="475" y="89"/>
                  </a:lnTo>
                  <a:lnTo>
                    <a:pt x="461" y="108"/>
                  </a:lnTo>
                  <a:lnTo>
                    <a:pt x="444" y="125"/>
                  </a:lnTo>
                  <a:lnTo>
                    <a:pt x="425" y="142"/>
                  </a:lnTo>
                  <a:lnTo>
                    <a:pt x="402" y="160"/>
                  </a:lnTo>
                  <a:lnTo>
                    <a:pt x="378" y="176"/>
                  </a:lnTo>
                  <a:lnTo>
                    <a:pt x="351" y="191"/>
                  </a:lnTo>
                  <a:lnTo>
                    <a:pt x="320" y="203"/>
                  </a:lnTo>
                  <a:lnTo>
                    <a:pt x="285" y="213"/>
                  </a:lnTo>
                  <a:lnTo>
                    <a:pt x="247" y="220"/>
                  </a:lnTo>
                  <a:lnTo>
                    <a:pt x="206" y="224"/>
                  </a:lnTo>
                  <a:lnTo>
                    <a:pt x="160" y="225"/>
                  </a:lnTo>
                  <a:lnTo>
                    <a:pt x="111" y="221"/>
                  </a:lnTo>
                  <a:lnTo>
                    <a:pt x="58" y="214"/>
                  </a:lnTo>
                  <a:lnTo>
                    <a:pt x="0" y="200"/>
                  </a:lnTo>
                  <a:lnTo>
                    <a:pt x="56" y="177"/>
                  </a:lnTo>
                  <a:lnTo>
                    <a:pt x="74" y="167"/>
                  </a:lnTo>
                  <a:lnTo>
                    <a:pt x="89" y="153"/>
                  </a:lnTo>
                  <a:lnTo>
                    <a:pt x="98" y="139"/>
                  </a:lnTo>
                  <a:lnTo>
                    <a:pt x="106" y="120"/>
                  </a:lnTo>
                  <a:lnTo>
                    <a:pt x="107" y="10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D29460"/>
            </a:solidFill>
            <a:ln w="0">
              <a:solidFill>
                <a:srgbClr val="D2946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2"/>
            <p:cNvSpPr>
              <a:spLocks/>
            </p:cNvSpPr>
            <p:nvPr/>
          </p:nvSpPr>
          <p:spPr bwMode="auto">
            <a:xfrm>
              <a:off x="5376" y="2405"/>
              <a:ext cx="62" cy="83"/>
            </a:xfrm>
            <a:custGeom>
              <a:avLst/>
              <a:gdLst>
                <a:gd name="T0" fmla="*/ 34 w 247"/>
                <a:gd name="T1" fmla="*/ 0 h 333"/>
                <a:gd name="T2" fmla="*/ 200 w 247"/>
                <a:gd name="T3" fmla="*/ 130 h 333"/>
                <a:gd name="T4" fmla="*/ 220 w 247"/>
                <a:gd name="T5" fmla="*/ 150 h 333"/>
                <a:gd name="T6" fmla="*/ 235 w 247"/>
                <a:gd name="T7" fmla="*/ 174 h 333"/>
                <a:gd name="T8" fmla="*/ 243 w 247"/>
                <a:gd name="T9" fmla="*/ 200 h 333"/>
                <a:gd name="T10" fmla="*/ 247 w 247"/>
                <a:gd name="T11" fmla="*/ 228 h 333"/>
                <a:gd name="T12" fmla="*/ 247 w 247"/>
                <a:gd name="T13" fmla="*/ 333 h 333"/>
                <a:gd name="T14" fmla="*/ 81 w 247"/>
                <a:gd name="T15" fmla="*/ 333 h 333"/>
                <a:gd name="T16" fmla="*/ 60 w 247"/>
                <a:gd name="T17" fmla="*/ 331 h 333"/>
                <a:gd name="T18" fmla="*/ 40 w 247"/>
                <a:gd name="T19" fmla="*/ 322 h 333"/>
                <a:gd name="T20" fmla="*/ 23 w 247"/>
                <a:gd name="T21" fmla="*/ 308 h 333"/>
                <a:gd name="T22" fmla="*/ 11 w 247"/>
                <a:gd name="T23" fmla="*/ 292 h 333"/>
                <a:gd name="T24" fmla="*/ 2 w 247"/>
                <a:gd name="T25" fmla="*/ 272 h 333"/>
                <a:gd name="T26" fmla="*/ 0 w 247"/>
                <a:gd name="T27" fmla="*/ 250 h 333"/>
                <a:gd name="T28" fmla="*/ 0 w 247"/>
                <a:gd name="T29" fmla="*/ 86 h 333"/>
                <a:gd name="T30" fmla="*/ 2 w 247"/>
                <a:gd name="T31" fmla="*/ 61 h 333"/>
                <a:gd name="T32" fmla="*/ 8 w 247"/>
                <a:gd name="T33" fmla="*/ 38 h 333"/>
                <a:gd name="T34" fmla="*/ 19 w 247"/>
                <a:gd name="T35" fmla="*/ 18 h 333"/>
                <a:gd name="T36" fmla="*/ 34 w 247"/>
                <a:gd name="T37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7" h="333">
                  <a:moveTo>
                    <a:pt x="34" y="0"/>
                  </a:moveTo>
                  <a:lnTo>
                    <a:pt x="200" y="130"/>
                  </a:lnTo>
                  <a:lnTo>
                    <a:pt x="220" y="150"/>
                  </a:lnTo>
                  <a:lnTo>
                    <a:pt x="235" y="174"/>
                  </a:lnTo>
                  <a:lnTo>
                    <a:pt x="243" y="200"/>
                  </a:lnTo>
                  <a:lnTo>
                    <a:pt x="247" y="228"/>
                  </a:lnTo>
                  <a:lnTo>
                    <a:pt x="247" y="333"/>
                  </a:lnTo>
                  <a:lnTo>
                    <a:pt x="81" y="333"/>
                  </a:lnTo>
                  <a:lnTo>
                    <a:pt x="60" y="331"/>
                  </a:lnTo>
                  <a:lnTo>
                    <a:pt x="40" y="322"/>
                  </a:lnTo>
                  <a:lnTo>
                    <a:pt x="23" y="308"/>
                  </a:lnTo>
                  <a:lnTo>
                    <a:pt x="11" y="292"/>
                  </a:lnTo>
                  <a:lnTo>
                    <a:pt x="2" y="272"/>
                  </a:lnTo>
                  <a:lnTo>
                    <a:pt x="0" y="250"/>
                  </a:lnTo>
                  <a:lnTo>
                    <a:pt x="0" y="86"/>
                  </a:lnTo>
                  <a:lnTo>
                    <a:pt x="2" y="61"/>
                  </a:lnTo>
                  <a:lnTo>
                    <a:pt x="8" y="38"/>
                  </a:lnTo>
                  <a:lnTo>
                    <a:pt x="19" y="18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A7F1FD"/>
            </a:solidFill>
            <a:ln w="0">
              <a:solidFill>
                <a:srgbClr val="A7F1F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3"/>
            <p:cNvSpPr>
              <a:spLocks/>
            </p:cNvSpPr>
            <p:nvPr/>
          </p:nvSpPr>
          <p:spPr bwMode="auto">
            <a:xfrm>
              <a:off x="5665" y="2405"/>
              <a:ext cx="62" cy="83"/>
            </a:xfrm>
            <a:custGeom>
              <a:avLst/>
              <a:gdLst>
                <a:gd name="T0" fmla="*/ 213 w 248"/>
                <a:gd name="T1" fmla="*/ 0 h 333"/>
                <a:gd name="T2" fmla="*/ 228 w 248"/>
                <a:gd name="T3" fmla="*/ 18 h 333"/>
                <a:gd name="T4" fmla="*/ 239 w 248"/>
                <a:gd name="T5" fmla="*/ 39 h 333"/>
                <a:gd name="T6" fmla="*/ 245 w 248"/>
                <a:gd name="T7" fmla="*/ 61 h 333"/>
                <a:gd name="T8" fmla="*/ 248 w 248"/>
                <a:gd name="T9" fmla="*/ 86 h 333"/>
                <a:gd name="T10" fmla="*/ 248 w 248"/>
                <a:gd name="T11" fmla="*/ 250 h 333"/>
                <a:gd name="T12" fmla="*/ 245 w 248"/>
                <a:gd name="T13" fmla="*/ 272 h 333"/>
                <a:gd name="T14" fmla="*/ 236 w 248"/>
                <a:gd name="T15" fmla="*/ 292 h 333"/>
                <a:gd name="T16" fmla="*/ 224 w 248"/>
                <a:gd name="T17" fmla="*/ 308 h 333"/>
                <a:gd name="T18" fmla="*/ 207 w 248"/>
                <a:gd name="T19" fmla="*/ 322 h 333"/>
                <a:gd name="T20" fmla="*/ 187 w 248"/>
                <a:gd name="T21" fmla="*/ 331 h 333"/>
                <a:gd name="T22" fmla="*/ 165 w 248"/>
                <a:gd name="T23" fmla="*/ 333 h 333"/>
                <a:gd name="T24" fmla="*/ 0 w 248"/>
                <a:gd name="T25" fmla="*/ 333 h 333"/>
                <a:gd name="T26" fmla="*/ 0 w 248"/>
                <a:gd name="T27" fmla="*/ 228 h 333"/>
                <a:gd name="T28" fmla="*/ 3 w 248"/>
                <a:gd name="T29" fmla="*/ 200 h 333"/>
                <a:gd name="T30" fmla="*/ 13 w 248"/>
                <a:gd name="T31" fmla="*/ 174 h 333"/>
                <a:gd name="T32" fmla="*/ 28 w 248"/>
                <a:gd name="T33" fmla="*/ 150 h 333"/>
                <a:gd name="T34" fmla="*/ 46 w 248"/>
                <a:gd name="T35" fmla="*/ 130 h 333"/>
                <a:gd name="T36" fmla="*/ 213 w 248"/>
                <a:gd name="T37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8" h="333">
                  <a:moveTo>
                    <a:pt x="213" y="0"/>
                  </a:moveTo>
                  <a:lnTo>
                    <a:pt x="228" y="18"/>
                  </a:lnTo>
                  <a:lnTo>
                    <a:pt x="239" y="39"/>
                  </a:lnTo>
                  <a:lnTo>
                    <a:pt x="245" y="61"/>
                  </a:lnTo>
                  <a:lnTo>
                    <a:pt x="248" y="86"/>
                  </a:lnTo>
                  <a:lnTo>
                    <a:pt x="248" y="250"/>
                  </a:lnTo>
                  <a:lnTo>
                    <a:pt x="245" y="272"/>
                  </a:lnTo>
                  <a:lnTo>
                    <a:pt x="236" y="292"/>
                  </a:lnTo>
                  <a:lnTo>
                    <a:pt x="224" y="308"/>
                  </a:lnTo>
                  <a:lnTo>
                    <a:pt x="207" y="322"/>
                  </a:lnTo>
                  <a:lnTo>
                    <a:pt x="187" y="331"/>
                  </a:lnTo>
                  <a:lnTo>
                    <a:pt x="165" y="333"/>
                  </a:lnTo>
                  <a:lnTo>
                    <a:pt x="0" y="333"/>
                  </a:lnTo>
                  <a:lnTo>
                    <a:pt x="0" y="228"/>
                  </a:lnTo>
                  <a:lnTo>
                    <a:pt x="3" y="200"/>
                  </a:lnTo>
                  <a:lnTo>
                    <a:pt x="13" y="174"/>
                  </a:lnTo>
                  <a:lnTo>
                    <a:pt x="28" y="150"/>
                  </a:lnTo>
                  <a:lnTo>
                    <a:pt x="46" y="130"/>
                  </a:lnTo>
                  <a:lnTo>
                    <a:pt x="213" y="0"/>
                  </a:lnTo>
                  <a:close/>
                </a:path>
              </a:pathLst>
            </a:custGeom>
            <a:solidFill>
              <a:srgbClr val="A7F1FD"/>
            </a:solidFill>
            <a:ln w="0">
              <a:solidFill>
                <a:srgbClr val="A7F1F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4"/>
            <p:cNvSpPr>
              <a:spLocks/>
            </p:cNvSpPr>
            <p:nvPr/>
          </p:nvSpPr>
          <p:spPr bwMode="auto">
            <a:xfrm>
              <a:off x="5541" y="2389"/>
              <a:ext cx="21" cy="78"/>
            </a:xfrm>
            <a:custGeom>
              <a:avLst/>
              <a:gdLst>
                <a:gd name="T0" fmla="*/ 0 w 82"/>
                <a:gd name="T1" fmla="*/ 0 h 311"/>
                <a:gd name="T2" fmla="*/ 82 w 82"/>
                <a:gd name="T3" fmla="*/ 0 h 311"/>
                <a:gd name="T4" fmla="*/ 82 w 82"/>
                <a:gd name="T5" fmla="*/ 277 h 311"/>
                <a:gd name="T6" fmla="*/ 80 w 82"/>
                <a:gd name="T7" fmla="*/ 290 h 311"/>
                <a:gd name="T8" fmla="*/ 73 w 82"/>
                <a:gd name="T9" fmla="*/ 301 h 311"/>
                <a:gd name="T10" fmla="*/ 60 w 82"/>
                <a:gd name="T11" fmla="*/ 309 h 311"/>
                <a:gd name="T12" fmla="*/ 47 w 82"/>
                <a:gd name="T13" fmla="*/ 311 h 311"/>
                <a:gd name="T14" fmla="*/ 34 w 82"/>
                <a:gd name="T15" fmla="*/ 311 h 311"/>
                <a:gd name="T16" fmla="*/ 21 w 82"/>
                <a:gd name="T17" fmla="*/ 309 h 311"/>
                <a:gd name="T18" fmla="*/ 10 w 82"/>
                <a:gd name="T19" fmla="*/ 301 h 311"/>
                <a:gd name="T20" fmla="*/ 2 w 82"/>
                <a:gd name="T21" fmla="*/ 290 h 311"/>
                <a:gd name="T22" fmla="*/ 0 w 82"/>
                <a:gd name="T23" fmla="*/ 277 h 311"/>
                <a:gd name="T24" fmla="*/ 0 w 82"/>
                <a:gd name="T25" fmla="*/ 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311">
                  <a:moveTo>
                    <a:pt x="0" y="0"/>
                  </a:moveTo>
                  <a:lnTo>
                    <a:pt x="82" y="0"/>
                  </a:lnTo>
                  <a:lnTo>
                    <a:pt x="82" y="277"/>
                  </a:lnTo>
                  <a:lnTo>
                    <a:pt x="80" y="290"/>
                  </a:lnTo>
                  <a:lnTo>
                    <a:pt x="73" y="301"/>
                  </a:lnTo>
                  <a:lnTo>
                    <a:pt x="60" y="309"/>
                  </a:lnTo>
                  <a:lnTo>
                    <a:pt x="47" y="311"/>
                  </a:lnTo>
                  <a:lnTo>
                    <a:pt x="34" y="311"/>
                  </a:lnTo>
                  <a:lnTo>
                    <a:pt x="21" y="309"/>
                  </a:lnTo>
                  <a:lnTo>
                    <a:pt x="10" y="301"/>
                  </a:lnTo>
                  <a:lnTo>
                    <a:pt x="2" y="290"/>
                  </a:lnTo>
                  <a:lnTo>
                    <a:pt x="0" y="2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7F1FD"/>
            </a:solidFill>
            <a:ln w="0">
              <a:solidFill>
                <a:srgbClr val="A7F1F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5"/>
            <p:cNvSpPr>
              <a:spLocks/>
            </p:cNvSpPr>
            <p:nvPr/>
          </p:nvSpPr>
          <p:spPr bwMode="auto">
            <a:xfrm>
              <a:off x="5469" y="2344"/>
              <a:ext cx="82" cy="75"/>
            </a:xfrm>
            <a:custGeom>
              <a:avLst/>
              <a:gdLst>
                <a:gd name="T0" fmla="*/ 70 w 330"/>
                <a:gd name="T1" fmla="*/ 0 h 300"/>
                <a:gd name="T2" fmla="*/ 82 w 330"/>
                <a:gd name="T3" fmla="*/ 0 h 300"/>
                <a:gd name="T4" fmla="*/ 94 w 330"/>
                <a:gd name="T5" fmla="*/ 6 h 300"/>
                <a:gd name="T6" fmla="*/ 330 w 330"/>
                <a:gd name="T7" fmla="*/ 183 h 300"/>
                <a:gd name="T8" fmla="*/ 193 w 330"/>
                <a:gd name="T9" fmla="*/ 293 h 300"/>
                <a:gd name="T10" fmla="*/ 181 w 330"/>
                <a:gd name="T11" fmla="*/ 299 h 300"/>
                <a:gd name="T12" fmla="*/ 167 w 330"/>
                <a:gd name="T13" fmla="*/ 300 h 300"/>
                <a:gd name="T14" fmla="*/ 155 w 330"/>
                <a:gd name="T15" fmla="*/ 295 h 300"/>
                <a:gd name="T16" fmla="*/ 145 w 330"/>
                <a:gd name="T17" fmla="*/ 287 h 300"/>
                <a:gd name="T18" fmla="*/ 0 w 330"/>
                <a:gd name="T19" fmla="*/ 84 h 300"/>
                <a:gd name="T20" fmla="*/ 47 w 330"/>
                <a:gd name="T21" fmla="*/ 14 h 300"/>
                <a:gd name="T22" fmla="*/ 57 w 330"/>
                <a:gd name="T23" fmla="*/ 5 h 300"/>
                <a:gd name="T24" fmla="*/ 70 w 330"/>
                <a:gd name="T25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0" h="300">
                  <a:moveTo>
                    <a:pt x="70" y="0"/>
                  </a:moveTo>
                  <a:lnTo>
                    <a:pt x="82" y="0"/>
                  </a:lnTo>
                  <a:lnTo>
                    <a:pt x="94" y="6"/>
                  </a:lnTo>
                  <a:lnTo>
                    <a:pt x="330" y="183"/>
                  </a:lnTo>
                  <a:lnTo>
                    <a:pt x="193" y="293"/>
                  </a:lnTo>
                  <a:lnTo>
                    <a:pt x="181" y="299"/>
                  </a:lnTo>
                  <a:lnTo>
                    <a:pt x="167" y="300"/>
                  </a:lnTo>
                  <a:lnTo>
                    <a:pt x="155" y="295"/>
                  </a:lnTo>
                  <a:lnTo>
                    <a:pt x="145" y="287"/>
                  </a:lnTo>
                  <a:lnTo>
                    <a:pt x="0" y="84"/>
                  </a:lnTo>
                  <a:lnTo>
                    <a:pt x="47" y="14"/>
                  </a:lnTo>
                  <a:lnTo>
                    <a:pt x="57" y="5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A7F1FD"/>
            </a:solidFill>
            <a:ln w="0">
              <a:solidFill>
                <a:srgbClr val="A7F1F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6"/>
            <p:cNvSpPr>
              <a:spLocks/>
            </p:cNvSpPr>
            <p:nvPr/>
          </p:nvSpPr>
          <p:spPr bwMode="auto">
            <a:xfrm>
              <a:off x="5551" y="2344"/>
              <a:ext cx="83" cy="75"/>
            </a:xfrm>
            <a:custGeom>
              <a:avLst/>
              <a:gdLst>
                <a:gd name="T0" fmla="*/ 262 w 332"/>
                <a:gd name="T1" fmla="*/ 0 h 300"/>
                <a:gd name="T2" fmla="*/ 275 w 332"/>
                <a:gd name="T3" fmla="*/ 5 h 300"/>
                <a:gd name="T4" fmla="*/ 285 w 332"/>
                <a:gd name="T5" fmla="*/ 14 h 300"/>
                <a:gd name="T6" fmla="*/ 332 w 332"/>
                <a:gd name="T7" fmla="*/ 84 h 300"/>
                <a:gd name="T8" fmla="*/ 186 w 332"/>
                <a:gd name="T9" fmla="*/ 287 h 300"/>
                <a:gd name="T10" fmla="*/ 176 w 332"/>
                <a:gd name="T11" fmla="*/ 295 h 300"/>
                <a:gd name="T12" fmla="*/ 164 w 332"/>
                <a:gd name="T13" fmla="*/ 300 h 300"/>
                <a:gd name="T14" fmla="*/ 151 w 332"/>
                <a:gd name="T15" fmla="*/ 299 h 300"/>
                <a:gd name="T16" fmla="*/ 139 w 332"/>
                <a:gd name="T17" fmla="*/ 293 h 300"/>
                <a:gd name="T18" fmla="*/ 0 w 332"/>
                <a:gd name="T19" fmla="*/ 183 h 300"/>
                <a:gd name="T20" fmla="*/ 238 w 332"/>
                <a:gd name="T21" fmla="*/ 6 h 300"/>
                <a:gd name="T22" fmla="*/ 250 w 332"/>
                <a:gd name="T23" fmla="*/ 0 h 300"/>
                <a:gd name="T24" fmla="*/ 262 w 332"/>
                <a:gd name="T25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2" h="300">
                  <a:moveTo>
                    <a:pt x="262" y="0"/>
                  </a:moveTo>
                  <a:lnTo>
                    <a:pt x="275" y="5"/>
                  </a:lnTo>
                  <a:lnTo>
                    <a:pt x="285" y="14"/>
                  </a:lnTo>
                  <a:lnTo>
                    <a:pt x="332" y="84"/>
                  </a:lnTo>
                  <a:lnTo>
                    <a:pt x="186" y="287"/>
                  </a:lnTo>
                  <a:lnTo>
                    <a:pt x="176" y="295"/>
                  </a:lnTo>
                  <a:lnTo>
                    <a:pt x="164" y="300"/>
                  </a:lnTo>
                  <a:lnTo>
                    <a:pt x="151" y="299"/>
                  </a:lnTo>
                  <a:lnTo>
                    <a:pt x="139" y="293"/>
                  </a:lnTo>
                  <a:lnTo>
                    <a:pt x="0" y="183"/>
                  </a:lnTo>
                  <a:lnTo>
                    <a:pt x="238" y="6"/>
                  </a:lnTo>
                  <a:lnTo>
                    <a:pt x="250" y="0"/>
                  </a:lnTo>
                  <a:lnTo>
                    <a:pt x="262" y="0"/>
                  </a:lnTo>
                  <a:close/>
                </a:path>
              </a:pathLst>
            </a:custGeom>
            <a:solidFill>
              <a:srgbClr val="A7F1FD"/>
            </a:solidFill>
            <a:ln w="0">
              <a:solidFill>
                <a:srgbClr val="A7F1F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7"/>
            <p:cNvSpPr>
              <a:spLocks/>
            </p:cNvSpPr>
            <p:nvPr/>
          </p:nvSpPr>
          <p:spPr bwMode="auto">
            <a:xfrm>
              <a:off x="5450" y="2117"/>
              <a:ext cx="204" cy="222"/>
            </a:xfrm>
            <a:custGeom>
              <a:avLst/>
              <a:gdLst>
                <a:gd name="T0" fmla="*/ 611 w 816"/>
                <a:gd name="T1" fmla="*/ 0 h 889"/>
                <a:gd name="T2" fmla="*/ 627 w 816"/>
                <a:gd name="T3" fmla="*/ 25 h 889"/>
                <a:gd name="T4" fmla="*/ 647 w 816"/>
                <a:gd name="T5" fmla="*/ 50 h 889"/>
                <a:gd name="T6" fmla="*/ 671 w 816"/>
                <a:gd name="T7" fmla="*/ 74 h 889"/>
                <a:gd name="T8" fmla="*/ 697 w 816"/>
                <a:gd name="T9" fmla="*/ 99 h 889"/>
                <a:gd name="T10" fmla="*/ 723 w 816"/>
                <a:gd name="T11" fmla="*/ 124 h 889"/>
                <a:gd name="T12" fmla="*/ 749 w 816"/>
                <a:gd name="T13" fmla="*/ 150 h 889"/>
                <a:gd name="T14" fmla="*/ 773 w 816"/>
                <a:gd name="T15" fmla="*/ 177 h 889"/>
                <a:gd name="T16" fmla="*/ 793 w 816"/>
                <a:gd name="T17" fmla="*/ 205 h 889"/>
                <a:gd name="T18" fmla="*/ 807 w 816"/>
                <a:gd name="T19" fmla="*/ 234 h 889"/>
                <a:gd name="T20" fmla="*/ 816 w 816"/>
                <a:gd name="T21" fmla="*/ 264 h 889"/>
                <a:gd name="T22" fmla="*/ 816 w 816"/>
                <a:gd name="T23" fmla="*/ 295 h 889"/>
                <a:gd name="T24" fmla="*/ 814 w 816"/>
                <a:gd name="T25" fmla="*/ 326 h 889"/>
                <a:gd name="T26" fmla="*/ 784 w 816"/>
                <a:gd name="T27" fmla="*/ 615 h 889"/>
                <a:gd name="T28" fmla="*/ 779 w 816"/>
                <a:gd name="T29" fmla="*/ 647 h 889"/>
                <a:gd name="T30" fmla="*/ 767 w 816"/>
                <a:gd name="T31" fmla="*/ 677 h 889"/>
                <a:gd name="T32" fmla="*/ 749 w 816"/>
                <a:gd name="T33" fmla="*/ 703 h 889"/>
                <a:gd name="T34" fmla="*/ 727 w 816"/>
                <a:gd name="T35" fmla="*/ 726 h 889"/>
                <a:gd name="T36" fmla="*/ 700 w 816"/>
                <a:gd name="T37" fmla="*/ 745 h 889"/>
                <a:gd name="T38" fmla="*/ 465 w 816"/>
                <a:gd name="T39" fmla="*/ 875 h 889"/>
                <a:gd name="T40" fmla="*/ 442 w 816"/>
                <a:gd name="T41" fmla="*/ 884 h 889"/>
                <a:gd name="T42" fmla="*/ 417 w 816"/>
                <a:gd name="T43" fmla="*/ 889 h 889"/>
                <a:gd name="T44" fmla="*/ 392 w 816"/>
                <a:gd name="T45" fmla="*/ 889 h 889"/>
                <a:gd name="T46" fmla="*/ 369 w 816"/>
                <a:gd name="T47" fmla="*/ 884 h 889"/>
                <a:gd name="T48" fmla="*/ 345 w 816"/>
                <a:gd name="T49" fmla="*/ 875 h 889"/>
                <a:gd name="T50" fmla="*/ 110 w 816"/>
                <a:gd name="T51" fmla="*/ 745 h 889"/>
                <a:gd name="T52" fmla="*/ 83 w 816"/>
                <a:gd name="T53" fmla="*/ 726 h 889"/>
                <a:gd name="T54" fmla="*/ 61 w 816"/>
                <a:gd name="T55" fmla="*/ 703 h 889"/>
                <a:gd name="T56" fmla="*/ 44 w 816"/>
                <a:gd name="T57" fmla="*/ 677 h 889"/>
                <a:gd name="T58" fmla="*/ 31 w 816"/>
                <a:gd name="T59" fmla="*/ 647 h 889"/>
                <a:gd name="T60" fmla="*/ 25 w 816"/>
                <a:gd name="T61" fmla="*/ 615 h 889"/>
                <a:gd name="T62" fmla="*/ 0 w 816"/>
                <a:gd name="T63" fmla="*/ 372 h 889"/>
                <a:gd name="T64" fmla="*/ 2 w 816"/>
                <a:gd name="T65" fmla="*/ 334 h 889"/>
                <a:gd name="T66" fmla="*/ 8 w 816"/>
                <a:gd name="T67" fmla="*/ 299 h 889"/>
                <a:gd name="T68" fmla="*/ 18 w 816"/>
                <a:gd name="T69" fmla="*/ 269 h 889"/>
                <a:gd name="T70" fmla="*/ 31 w 816"/>
                <a:gd name="T71" fmla="*/ 245 h 889"/>
                <a:gd name="T72" fmla="*/ 47 w 816"/>
                <a:gd name="T73" fmla="*/ 222 h 889"/>
                <a:gd name="T74" fmla="*/ 66 w 816"/>
                <a:gd name="T75" fmla="*/ 204 h 889"/>
                <a:gd name="T76" fmla="*/ 88 w 816"/>
                <a:gd name="T77" fmla="*/ 188 h 889"/>
                <a:gd name="T78" fmla="*/ 113 w 816"/>
                <a:gd name="T79" fmla="*/ 176 h 889"/>
                <a:gd name="T80" fmla="*/ 139 w 816"/>
                <a:gd name="T81" fmla="*/ 164 h 889"/>
                <a:gd name="T82" fmla="*/ 167 w 816"/>
                <a:gd name="T83" fmla="*/ 155 h 889"/>
                <a:gd name="T84" fmla="*/ 197 w 816"/>
                <a:gd name="T85" fmla="*/ 147 h 889"/>
                <a:gd name="T86" fmla="*/ 228 w 816"/>
                <a:gd name="T87" fmla="*/ 140 h 889"/>
                <a:gd name="T88" fmla="*/ 261 w 816"/>
                <a:gd name="T89" fmla="*/ 134 h 889"/>
                <a:gd name="T90" fmla="*/ 293 w 816"/>
                <a:gd name="T91" fmla="*/ 127 h 889"/>
                <a:gd name="T92" fmla="*/ 327 w 816"/>
                <a:gd name="T93" fmla="*/ 122 h 889"/>
                <a:gd name="T94" fmla="*/ 361 w 816"/>
                <a:gd name="T95" fmla="*/ 115 h 889"/>
                <a:gd name="T96" fmla="*/ 395 w 816"/>
                <a:gd name="T97" fmla="*/ 108 h 889"/>
                <a:gd name="T98" fmla="*/ 429 w 816"/>
                <a:gd name="T99" fmla="*/ 99 h 889"/>
                <a:gd name="T100" fmla="*/ 463 w 816"/>
                <a:gd name="T101" fmla="*/ 89 h 889"/>
                <a:gd name="T102" fmla="*/ 495 w 816"/>
                <a:gd name="T103" fmla="*/ 77 h 889"/>
                <a:gd name="T104" fmla="*/ 526 w 816"/>
                <a:gd name="T105" fmla="*/ 62 h 889"/>
                <a:gd name="T106" fmla="*/ 556 w 816"/>
                <a:gd name="T107" fmla="*/ 45 h 889"/>
                <a:gd name="T108" fmla="*/ 585 w 816"/>
                <a:gd name="T109" fmla="*/ 25 h 889"/>
                <a:gd name="T110" fmla="*/ 611 w 816"/>
                <a:gd name="T111" fmla="*/ 0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16" h="889">
                  <a:moveTo>
                    <a:pt x="611" y="0"/>
                  </a:moveTo>
                  <a:lnTo>
                    <a:pt x="627" y="25"/>
                  </a:lnTo>
                  <a:lnTo>
                    <a:pt x="647" y="50"/>
                  </a:lnTo>
                  <a:lnTo>
                    <a:pt x="671" y="74"/>
                  </a:lnTo>
                  <a:lnTo>
                    <a:pt x="697" y="99"/>
                  </a:lnTo>
                  <a:lnTo>
                    <a:pt x="723" y="124"/>
                  </a:lnTo>
                  <a:lnTo>
                    <a:pt x="749" y="150"/>
                  </a:lnTo>
                  <a:lnTo>
                    <a:pt x="773" y="177"/>
                  </a:lnTo>
                  <a:lnTo>
                    <a:pt x="793" y="205"/>
                  </a:lnTo>
                  <a:lnTo>
                    <a:pt x="807" y="234"/>
                  </a:lnTo>
                  <a:lnTo>
                    <a:pt x="816" y="264"/>
                  </a:lnTo>
                  <a:lnTo>
                    <a:pt x="816" y="295"/>
                  </a:lnTo>
                  <a:lnTo>
                    <a:pt x="814" y="326"/>
                  </a:lnTo>
                  <a:lnTo>
                    <a:pt x="784" y="615"/>
                  </a:lnTo>
                  <a:lnTo>
                    <a:pt x="779" y="647"/>
                  </a:lnTo>
                  <a:lnTo>
                    <a:pt x="767" y="677"/>
                  </a:lnTo>
                  <a:lnTo>
                    <a:pt x="749" y="703"/>
                  </a:lnTo>
                  <a:lnTo>
                    <a:pt x="727" y="726"/>
                  </a:lnTo>
                  <a:lnTo>
                    <a:pt x="700" y="745"/>
                  </a:lnTo>
                  <a:lnTo>
                    <a:pt x="465" y="875"/>
                  </a:lnTo>
                  <a:lnTo>
                    <a:pt x="442" y="884"/>
                  </a:lnTo>
                  <a:lnTo>
                    <a:pt x="417" y="889"/>
                  </a:lnTo>
                  <a:lnTo>
                    <a:pt x="392" y="889"/>
                  </a:lnTo>
                  <a:lnTo>
                    <a:pt x="369" y="884"/>
                  </a:lnTo>
                  <a:lnTo>
                    <a:pt x="345" y="875"/>
                  </a:lnTo>
                  <a:lnTo>
                    <a:pt x="110" y="745"/>
                  </a:lnTo>
                  <a:lnTo>
                    <a:pt x="83" y="726"/>
                  </a:lnTo>
                  <a:lnTo>
                    <a:pt x="61" y="703"/>
                  </a:lnTo>
                  <a:lnTo>
                    <a:pt x="44" y="677"/>
                  </a:lnTo>
                  <a:lnTo>
                    <a:pt x="31" y="647"/>
                  </a:lnTo>
                  <a:lnTo>
                    <a:pt x="25" y="615"/>
                  </a:lnTo>
                  <a:lnTo>
                    <a:pt x="0" y="372"/>
                  </a:lnTo>
                  <a:lnTo>
                    <a:pt x="2" y="334"/>
                  </a:lnTo>
                  <a:lnTo>
                    <a:pt x="8" y="299"/>
                  </a:lnTo>
                  <a:lnTo>
                    <a:pt x="18" y="269"/>
                  </a:lnTo>
                  <a:lnTo>
                    <a:pt x="31" y="245"/>
                  </a:lnTo>
                  <a:lnTo>
                    <a:pt x="47" y="222"/>
                  </a:lnTo>
                  <a:lnTo>
                    <a:pt x="66" y="204"/>
                  </a:lnTo>
                  <a:lnTo>
                    <a:pt x="88" y="188"/>
                  </a:lnTo>
                  <a:lnTo>
                    <a:pt x="113" y="176"/>
                  </a:lnTo>
                  <a:lnTo>
                    <a:pt x="139" y="164"/>
                  </a:lnTo>
                  <a:lnTo>
                    <a:pt x="167" y="155"/>
                  </a:lnTo>
                  <a:lnTo>
                    <a:pt x="197" y="147"/>
                  </a:lnTo>
                  <a:lnTo>
                    <a:pt x="228" y="140"/>
                  </a:lnTo>
                  <a:lnTo>
                    <a:pt x="261" y="134"/>
                  </a:lnTo>
                  <a:lnTo>
                    <a:pt x="293" y="127"/>
                  </a:lnTo>
                  <a:lnTo>
                    <a:pt x="327" y="122"/>
                  </a:lnTo>
                  <a:lnTo>
                    <a:pt x="361" y="115"/>
                  </a:lnTo>
                  <a:lnTo>
                    <a:pt x="395" y="108"/>
                  </a:lnTo>
                  <a:lnTo>
                    <a:pt x="429" y="99"/>
                  </a:lnTo>
                  <a:lnTo>
                    <a:pt x="463" y="89"/>
                  </a:lnTo>
                  <a:lnTo>
                    <a:pt x="495" y="77"/>
                  </a:lnTo>
                  <a:lnTo>
                    <a:pt x="526" y="62"/>
                  </a:lnTo>
                  <a:lnTo>
                    <a:pt x="556" y="45"/>
                  </a:lnTo>
                  <a:lnTo>
                    <a:pt x="585" y="25"/>
                  </a:lnTo>
                  <a:lnTo>
                    <a:pt x="611" y="0"/>
                  </a:lnTo>
                  <a:close/>
                </a:path>
              </a:pathLst>
            </a:custGeom>
            <a:solidFill>
              <a:srgbClr val="F2BD7B"/>
            </a:solidFill>
            <a:ln w="0">
              <a:solidFill>
                <a:srgbClr val="F2BD7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8"/>
            <p:cNvSpPr>
              <a:spLocks/>
            </p:cNvSpPr>
            <p:nvPr/>
          </p:nvSpPr>
          <p:spPr bwMode="auto">
            <a:xfrm>
              <a:off x="5450" y="2117"/>
              <a:ext cx="158" cy="222"/>
            </a:xfrm>
            <a:custGeom>
              <a:avLst/>
              <a:gdLst>
                <a:gd name="T0" fmla="*/ 616 w 633"/>
                <a:gd name="T1" fmla="*/ 9 h 889"/>
                <a:gd name="T2" fmla="*/ 622 w 633"/>
                <a:gd name="T3" fmla="*/ 19 h 889"/>
                <a:gd name="T4" fmla="*/ 615 w 633"/>
                <a:gd name="T5" fmla="*/ 59 h 889"/>
                <a:gd name="T6" fmla="*/ 563 w 633"/>
                <a:gd name="T7" fmla="*/ 103 h 889"/>
                <a:gd name="T8" fmla="*/ 498 w 633"/>
                <a:gd name="T9" fmla="*/ 136 h 889"/>
                <a:gd name="T10" fmla="*/ 429 w 633"/>
                <a:gd name="T11" fmla="*/ 163 h 889"/>
                <a:gd name="T12" fmla="*/ 360 w 633"/>
                <a:gd name="T13" fmla="*/ 185 h 889"/>
                <a:gd name="T14" fmla="*/ 297 w 633"/>
                <a:gd name="T15" fmla="*/ 206 h 889"/>
                <a:gd name="T16" fmla="*/ 246 w 633"/>
                <a:gd name="T17" fmla="*/ 229 h 889"/>
                <a:gd name="T18" fmla="*/ 214 w 633"/>
                <a:gd name="T19" fmla="*/ 255 h 889"/>
                <a:gd name="T20" fmla="*/ 207 w 633"/>
                <a:gd name="T21" fmla="*/ 283 h 889"/>
                <a:gd name="T22" fmla="*/ 204 w 633"/>
                <a:gd name="T23" fmla="*/ 334 h 889"/>
                <a:gd name="T24" fmla="*/ 205 w 633"/>
                <a:gd name="T25" fmla="*/ 398 h 889"/>
                <a:gd name="T26" fmla="*/ 210 w 633"/>
                <a:gd name="T27" fmla="*/ 468 h 889"/>
                <a:gd name="T28" fmla="*/ 218 w 633"/>
                <a:gd name="T29" fmla="*/ 539 h 889"/>
                <a:gd name="T30" fmla="*/ 226 w 633"/>
                <a:gd name="T31" fmla="*/ 600 h 889"/>
                <a:gd name="T32" fmla="*/ 235 w 633"/>
                <a:gd name="T33" fmla="*/ 646 h 889"/>
                <a:gd name="T34" fmla="*/ 259 w 633"/>
                <a:gd name="T35" fmla="*/ 705 h 889"/>
                <a:gd name="T36" fmla="*/ 299 w 633"/>
                <a:gd name="T37" fmla="*/ 777 h 889"/>
                <a:gd name="T38" fmla="*/ 341 w 633"/>
                <a:gd name="T39" fmla="*/ 828 h 889"/>
                <a:gd name="T40" fmla="*/ 380 w 633"/>
                <a:gd name="T41" fmla="*/ 860 h 889"/>
                <a:gd name="T42" fmla="*/ 409 w 633"/>
                <a:gd name="T43" fmla="*/ 880 h 889"/>
                <a:gd name="T44" fmla="*/ 427 w 633"/>
                <a:gd name="T45" fmla="*/ 887 h 889"/>
                <a:gd name="T46" fmla="*/ 401 w 633"/>
                <a:gd name="T47" fmla="*/ 889 h 889"/>
                <a:gd name="T48" fmla="*/ 345 w 633"/>
                <a:gd name="T49" fmla="*/ 875 h 889"/>
                <a:gd name="T50" fmla="*/ 83 w 633"/>
                <a:gd name="T51" fmla="*/ 726 h 889"/>
                <a:gd name="T52" fmla="*/ 44 w 633"/>
                <a:gd name="T53" fmla="*/ 677 h 889"/>
                <a:gd name="T54" fmla="*/ 25 w 633"/>
                <a:gd name="T55" fmla="*/ 615 h 889"/>
                <a:gd name="T56" fmla="*/ 2 w 633"/>
                <a:gd name="T57" fmla="*/ 334 h 889"/>
                <a:gd name="T58" fmla="*/ 18 w 633"/>
                <a:gd name="T59" fmla="*/ 269 h 889"/>
                <a:gd name="T60" fmla="*/ 47 w 633"/>
                <a:gd name="T61" fmla="*/ 222 h 889"/>
                <a:gd name="T62" fmla="*/ 88 w 633"/>
                <a:gd name="T63" fmla="*/ 188 h 889"/>
                <a:gd name="T64" fmla="*/ 139 w 633"/>
                <a:gd name="T65" fmla="*/ 164 h 889"/>
                <a:gd name="T66" fmla="*/ 197 w 633"/>
                <a:gd name="T67" fmla="*/ 147 h 889"/>
                <a:gd name="T68" fmla="*/ 261 w 633"/>
                <a:gd name="T69" fmla="*/ 134 h 889"/>
                <a:gd name="T70" fmla="*/ 327 w 633"/>
                <a:gd name="T71" fmla="*/ 122 h 889"/>
                <a:gd name="T72" fmla="*/ 395 w 633"/>
                <a:gd name="T73" fmla="*/ 108 h 889"/>
                <a:gd name="T74" fmla="*/ 463 w 633"/>
                <a:gd name="T75" fmla="*/ 89 h 889"/>
                <a:gd name="T76" fmla="*/ 526 w 633"/>
                <a:gd name="T77" fmla="*/ 62 h 889"/>
                <a:gd name="T78" fmla="*/ 585 w 633"/>
                <a:gd name="T79" fmla="*/ 25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33" h="889">
                  <a:moveTo>
                    <a:pt x="611" y="0"/>
                  </a:moveTo>
                  <a:lnTo>
                    <a:pt x="616" y="9"/>
                  </a:lnTo>
                  <a:lnTo>
                    <a:pt x="621" y="17"/>
                  </a:lnTo>
                  <a:lnTo>
                    <a:pt x="622" y="19"/>
                  </a:lnTo>
                  <a:lnTo>
                    <a:pt x="633" y="33"/>
                  </a:lnTo>
                  <a:lnTo>
                    <a:pt x="615" y="59"/>
                  </a:lnTo>
                  <a:lnTo>
                    <a:pt x="590" y="83"/>
                  </a:lnTo>
                  <a:lnTo>
                    <a:pt x="563" y="103"/>
                  </a:lnTo>
                  <a:lnTo>
                    <a:pt x="532" y="121"/>
                  </a:lnTo>
                  <a:lnTo>
                    <a:pt x="498" y="136"/>
                  </a:lnTo>
                  <a:lnTo>
                    <a:pt x="464" y="150"/>
                  </a:lnTo>
                  <a:lnTo>
                    <a:pt x="429" y="163"/>
                  </a:lnTo>
                  <a:lnTo>
                    <a:pt x="393" y="174"/>
                  </a:lnTo>
                  <a:lnTo>
                    <a:pt x="360" y="185"/>
                  </a:lnTo>
                  <a:lnTo>
                    <a:pt x="327" y="195"/>
                  </a:lnTo>
                  <a:lnTo>
                    <a:pt x="297" y="206"/>
                  </a:lnTo>
                  <a:lnTo>
                    <a:pt x="270" y="216"/>
                  </a:lnTo>
                  <a:lnTo>
                    <a:pt x="246" y="229"/>
                  </a:lnTo>
                  <a:lnTo>
                    <a:pt x="228" y="241"/>
                  </a:lnTo>
                  <a:lnTo>
                    <a:pt x="214" y="255"/>
                  </a:lnTo>
                  <a:lnTo>
                    <a:pt x="209" y="266"/>
                  </a:lnTo>
                  <a:lnTo>
                    <a:pt x="207" y="283"/>
                  </a:lnTo>
                  <a:lnTo>
                    <a:pt x="204" y="306"/>
                  </a:lnTo>
                  <a:lnTo>
                    <a:pt x="204" y="334"/>
                  </a:lnTo>
                  <a:lnTo>
                    <a:pt x="204" y="364"/>
                  </a:lnTo>
                  <a:lnTo>
                    <a:pt x="205" y="398"/>
                  </a:lnTo>
                  <a:lnTo>
                    <a:pt x="208" y="432"/>
                  </a:lnTo>
                  <a:lnTo>
                    <a:pt x="210" y="468"/>
                  </a:lnTo>
                  <a:lnTo>
                    <a:pt x="214" y="504"/>
                  </a:lnTo>
                  <a:lnTo>
                    <a:pt x="218" y="539"/>
                  </a:lnTo>
                  <a:lnTo>
                    <a:pt x="222" y="571"/>
                  </a:lnTo>
                  <a:lnTo>
                    <a:pt x="226" y="600"/>
                  </a:lnTo>
                  <a:lnTo>
                    <a:pt x="231" y="625"/>
                  </a:lnTo>
                  <a:lnTo>
                    <a:pt x="235" y="646"/>
                  </a:lnTo>
                  <a:lnTo>
                    <a:pt x="240" y="661"/>
                  </a:lnTo>
                  <a:lnTo>
                    <a:pt x="259" y="705"/>
                  </a:lnTo>
                  <a:lnTo>
                    <a:pt x="278" y="744"/>
                  </a:lnTo>
                  <a:lnTo>
                    <a:pt x="299" y="777"/>
                  </a:lnTo>
                  <a:lnTo>
                    <a:pt x="320" y="804"/>
                  </a:lnTo>
                  <a:lnTo>
                    <a:pt x="341" y="828"/>
                  </a:lnTo>
                  <a:lnTo>
                    <a:pt x="361" y="846"/>
                  </a:lnTo>
                  <a:lnTo>
                    <a:pt x="380" y="860"/>
                  </a:lnTo>
                  <a:lnTo>
                    <a:pt x="396" y="871"/>
                  </a:lnTo>
                  <a:lnTo>
                    <a:pt x="409" y="880"/>
                  </a:lnTo>
                  <a:lnTo>
                    <a:pt x="419" y="884"/>
                  </a:lnTo>
                  <a:lnTo>
                    <a:pt x="427" y="887"/>
                  </a:lnTo>
                  <a:lnTo>
                    <a:pt x="429" y="887"/>
                  </a:lnTo>
                  <a:lnTo>
                    <a:pt x="401" y="889"/>
                  </a:lnTo>
                  <a:lnTo>
                    <a:pt x="372" y="886"/>
                  </a:lnTo>
                  <a:lnTo>
                    <a:pt x="345" y="875"/>
                  </a:lnTo>
                  <a:lnTo>
                    <a:pt x="110" y="745"/>
                  </a:lnTo>
                  <a:lnTo>
                    <a:pt x="83" y="726"/>
                  </a:lnTo>
                  <a:lnTo>
                    <a:pt x="61" y="703"/>
                  </a:lnTo>
                  <a:lnTo>
                    <a:pt x="44" y="677"/>
                  </a:lnTo>
                  <a:lnTo>
                    <a:pt x="31" y="647"/>
                  </a:lnTo>
                  <a:lnTo>
                    <a:pt x="25" y="615"/>
                  </a:lnTo>
                  <a:lnTo>
                    <a:pt x="0" y="372"/>
                  </a:lnTo>
                  <a:lnTo>
                    <a:pt x="2" y="334"/>
                  </a:lnTo>
                  <a:lnTo>
                    <a:pt x="8" y="299"/>
                  </a:lnTo>
                  <a:lnTo>
                    <a:pt x="18" y="269"/>
                  </a:lnTo>
                  <a:lnTo>
                    <a:pt x="31" y="245"/>
                  </a:lnTo>
                  <a:lnTo>
                    <a:pt x="47" y="222"/>
                  </a:lnTo>
                  <a:lnTo>
                    <a:pt x="66" y="204"/>
                  </a:lnTo>
                  <a:lnTo>
                    <a:pt x="88" y="188"/>
                  </a:lnTo>
                  <a:lnTo>
                    <a:pt x="113" y="176"/>
                  </a:lnTo>
                  <a:lnTo>
                    <a:pt x="139" y="164"/>
                  </a:lnTo>
                  <a:lnTo>
                    <a:pt x="167" y="155"/>
                  </a:lnTo>
                  <a:lnTo>
                    <a:pt x="197" y="147"/>
                  </a:lnTo>
                  <a:lnTo>
                    <a:pt x="228" y="140"/>
                  </a:lnTo>
                  <a:lnTo>
                    <a:pt x="261" y="134"/>
                  </a:lnTo>
                  <a:lnTo>
                    <a:pt x="293" y="127"/>
                  </a:lnTo>
                  <a:lnTo>
                    <a:pt x="327" y="122"/>
                  </a:lnTo>
                  <a:lnTo>
                    <a:pt x="361" y="115"/>
                  </a:lnTo>
                  <a:lnTo>
                    <a:pt x="395" y="108"/>
                  </a:lnTo>
                  <a:lnTo>
                    <a:pt x="429" y="99"/>
                  </a:lnTo>
                  <a:lnTo>
                    <a:pt x="463" y="89"/>
                  </a:lnTo>
                  <a:lnTo>
                    <a:pt x="495" y="77"/>
                  </a:lnTo>
                  <a:lnTo>
                    <a:pt x="526" y="62"/>
                  </a:lnTo>
                  <a:lnTo>
                    <a:pt x="556" y="45"/>
                  </a:lnTo>
                  <a:lnTo>
                    <a:pt x="585" y="25"/>
                  </a:lnTo>
                  <a:lnTo>
                    <a:pt x="611" y="0"/>
                  </a:lnTo>
                  <a:close/>
                </a:path>
              </a:pathLst>
            </a:custGeom>
            <a:solidFill>
              <a:srgbClr val="E8AB6B"/>
            </a:solidFill>
            <a:ln w="0">
              <a:solidFill>
                <a:srgbClr val="E8AB6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9"/>
            <p:cNvSpPr>
              <a:spLocks/>
            </p:cNvSpPr>
            <p:nvPr/>
          </p:nvSpPr>
          <p:spPr bwMode="auto">
            <a:xfrm>
              <a:off x="5582" y="2467"/>
              <a:ext cx="62" cy="21"/>
            </a:xfrm>
            <a:custGeom>
              <a:avLst/>
              <a:gdLst>
                <a:gd name="T0" fmla="*/ 70 w 248"/>
                <a:gd name="T1" fmla="*/ 0 h 83"/>
                <a:gd name="T2" fmla="*/ 177 w 248"/>
                <a:gd name="T3" fmla="*/ 0 h 83"/>
                <a:gd name="T4" fmla="*/ 199 w 248"/>
                <a:gd name="T5" fmla="*/ 4 h 83"/>
                <a:gd name="T6" fmla="*/ 219 w 248"/>
                <a:gd name="T7" fmla="*/ 14 h 83"/>
                <a:gd name="T8" fmla="*/ 234 w 248"/>
                <a:gd name="T9" fmla="*/ 29 h 83"/>
                <a:gd name="T10" fmla="*/ 244 w 248"/>
                <a:gd name="T11" fmla="*/ 48 h 83"/>
                <a:gd name="T12" fmla="*/ 248 w 248"/>
                <a:gd name="T13" fmla="*/ 71 h 83"/>
                <a:gd name="T14" fmla="*/ 248 w 248"/>
                <a:gd name="T15" fmla="*/ 83 h 83"/>
                <a:gd name="T16" fmla="*/ 0 w 248"/>
                <a:gd name="T17" fmla="*/ 83 h 83"/>
                <a:gd name="T18" fmla="*/ 0 w 248"/>
                <a:gd name="T19" fmla="*/ 71 h 83"/>
                <a:gd name="T20" fmla="*/ 4 w 248"/>
                <a:gd name="T21" fmla="*/ 48 h 83"/>
                <a:gd name="T22" fmla="*/ 14 w 248"/>
                <a:gd name="T23" fmla="*/ 29 h 83"/>
                <a:gd name="T24" fmla="*/ 29 w 248"/>
                <a:gd name="T25" fmla="*/ 14 h 83"/>
                <a:gd name="T26" fmla="*/ 47 w 248"/>
                <a:gd name="T27" fmla="*/ 4 h 83"/>
                <a:gd name="T28" fmla="*/ 70 w 248"/>
                <a:gd name="T2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8" h="83">
                  <a:moveTo>
                    <a:pt x="70" y="0"/>
                  </a:moveTo>
                  <a:lnTo>
                    <a:pt x="177" y="0"/>
                  </a:lnTo>
                  <a:lnTo>
                    <a:pt x="199" y="4"/>
                  </a:lnTo>
                  <a:lnTo>
                    <a:pt x="219" y="14"/>
                  </a:lnTo>
                  <a:lnTo>
                    <a:pt x="234" y="29"/>
                  </a:lnTo>
                  <a:lnTo>
                    <a:pt x="244" y="48"/>
                  </a:lnTo>
                  <a:lnTo>
                    <a:pt x="248" y="71"/>
                  </a:lnTo>
                  <a:lnTo>
                    <a:pt x="248" y="83"/>
                  </a:lnTo>
                  <a:lnTo>
                    <a:pt x="0" y="83"/>
                  </a:lnTo>
                  <a:lnTo>
                    <a:pt x="0" y="71"/>
                  </a:lnTo>
                  <a:lnTo>
                    <a:pt x="4" y="48"/>
                  </a:lnTo>
                  <a:lnTo>
                    <a:pt x="14" y="29"/>
                  </a:lnTo>
                  <a:lnTo>
                    <a:pt x="29" y="14"/>
                  </a:lnTo>
                  <a:lnTo>
                    <a:pt x="47" y="4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A7F1FD"/>
            </a:solidFill>
            <a:ln w="0">
              <a:solidFill>
                <a:srgbClr val="A7F1F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9814356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do we need a business case?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890685" y="1809136"/>
            <a:ext cx="7296881" cy="3974178"/>
            <a:chOff x="395031" y="2100788"/>
            <a:chExt cx="2120873" cy="3456384"/>
          </a:xfrm>
        </p:grpSpPr>
        <p:sp>
          <p:nvSpPr>
            <p:cNvPr id="12" name="Rectangle 11"/>
            <p:cNvSpPr/>
            <p:nvPr/>
          </p:nvSpPr>
          <p:spPr>
            <a:xfrm>
              <a:off x="395031" y="2100788"/>
              <a:ext cx="2120873" cy="86409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r>
                <a:rPr lang="en-US" b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itchFamily="34" charset="0"/>
                </a:rPr>
                <a:t>To </a:t>
              </a:r>
              <a:r>
                <a:rPr lang="en-US" b="1">
                  <a:solidFill>
                    <a:schemeClr val="bg2"/>
                  </a:solidFill>
                  <a:cs typeface="Calibri" pitchFamily="34" charset="0"/>
                </a:rPr>
                <a:t>create sense of urgency</a:t>
              </a:r>
              <a:r>
                <a:rPr lang="en-US" b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itchFamily="34" charset="0"/>
                </a:rPr>
                <a:t> and stress the transformation need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95031" y="2964884"/>
              <a:ext cx="2120873" cy="86409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r>
                <a:rPr lang="en-US" b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itchFamily="34" charset="0"/>
                </a:rPr>
                <a:t>To </a:t>
              </a:r>
              <a:r>
                <a:rPr lang="en-US" b="1">
                  <a:solidFill>
                    <a:schemeClr val="bg2"/>
                  </a:solidFill>
                  <a:cs typeface="Calibri" pitchFamily="34" charset="0"/>
                </a:rPr>
                <a:t>convince and reinsure on the results </a:t>
              </a:r>
              <a:r>
                <a:rPr lang="en-US" b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itchFamily="34" charset="0"/>
                </a:rPr>
                <a:t>of the transformation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95031" y="3828980"/>
              <a:ext cx="2120873" cy="86409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r>
                <a:rPr lang="en-US" b="1" spc="-2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itchFamily="34" charset="0"/>
                </a:rPr>
                <a:t>To help </a:t>
              </a:r>
              <a:r>
                <a:rPr lang="en-US" b="1" spc="-20">
                  <a:solidFill>
                    <a:schemeClr val="bg2"/>
                  </a:solidFill>
                  <a:cs typeface="Calibri" pitchFamily="34" charset="0"/>
                </a:rPr>
                <a:t>deciding on project launch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95031" y="4693076"/>
              <a:ext cx="2120873" cy="86409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r>
                <a:rPr lang="en-US" b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itchFamily="34" charset="0"/>
                </a:rPr>
                <a:t>To </a:t>
              </a:r>
              <a:r>
                <a:rPr lang="en-US" b="1">
                  <a:solidFill>
                    <a:schemeClr val="bg2"/>
                  </a:solidFill>
                  <a:cs typeface="Calibri" pitchFamily="34" charset="0"/>
                </a:rPr>
                <a:t>ensure engagement and interest </a:t>
              </a:r>
              <a:r>
                <a:rPr lang="en-US" b="1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" pitchFamily="34" charset="0"/>
                </a:rPr>
                <a:t>in the project</a:t>
              </a:r>
            </a:p>
          </p:txBody>
        </p:sp>
      </p:grpSp>
      <p:sp>
        <p:nvSpPr>
          <p:cNvPr id="4" name="Oval 3"/>
          <p:cNvSpPr/>
          <p:nvPr/>
        </p:nvSpPr>
        <p:spPr>
          <a:xfrm>
            <a:off x="1917291" y="1868373"/>
            <a:ext cx="875071" cy="875071"/>
          </a:xfrm>
          <a:prstGeom prst="ellipse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/>
          <p:cNvSpPr/>
          <p:nvPr/>
        </p:nvSpPr>
        <p:spPr>
          <a:xfrm>
            <a:off x="1917291" y="2866835"/>
            <a:ext cx="875071" cy="875071"/>
          </a:xfrm>
          <a:prstGeom prst="ellipse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/>
          <p:cNvSpPr/>
          <p:nvPr/>
        </p:nvSpPr>
        <p:spPr>
          <a:xfrm>
            <a:off x="1917291" y="3855462"/>
            <a:ext cx="875071" cy="875071"/>
          </a:xfrm>
          <a:prstGeom prst="ellipse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/>
          <p:cNvSpPr/>
          <p:nvPr/>
        </p:nvSpPr>
        <p:spPr>
          <a:xfrm>
            <a:off x="1917291" y="4849007"/>
            <a:ext cx="875071" cy="875071"/>
          </a:xfrm>
          <a:prstGeom prst="ellipse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5" name="Group 4"/>
          <p:cNvGrpSpPr>
            <a:grpSpLocks noChangeAspect="1"/>
          </p:cNvGrpSpPr>
          <p:nvPr/>
        </p:nvGrpSpPr>
        <p:grpSpPr bwMode="auto">
          <a:xfrm>
            <a:off x="2042826" y="1962052"/>
            <a:ext cx="624001" cy="530401"/>
            <a:chOff x="398" y="1298"/>
            <a:chExt cx="1040" cy="884"/>
          </a:xfrm>
        </p:grpSpPr>
        <p:sp>
          <p:nvSpPr>
            <p:cNvPr id="9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98" y="1298"/>
              <a:ext cx="1040" cy="8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>
                <a:defRPr/>
              </a:pPr>
              <a:endParaRPr lang="en-US" sz="1900" ker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7" name="Freeform 6"/>
            <p:cNvSpPr>
              <a:spLocks/>
            </p:cNvSpPr>
            <p:nvPr/>
          </p:nvSpPr>
          <p:spPr bwMode="auto">
            <a:xfrm>
              <a:off x="398" y="1300"/>
              <a:ext cx="1040" cy="882"/>
            </a:xfrm>
            <a:custGeom>
              <a:avLst/>
              <a:gdLst>
                <a:gd name="T0" fmla="*/ 2079 w 4160"/>
                <a:gd name="T1" fmla="*/ 0 h 3530"/>
                <a:gd name="T2" fmla="*/ 2118 w 4160"/>
                <a:gd name="T3" fmla="*/ 3 h 3530"/>
                <a:gd name="T4" fmla="*/ 2154 w 4160"/>
                <a:gd name="T5" fmla="*/ 10 h 3530"/>
                <a:gd name="T6" fmla="*/ 2188 w 4160"/>
                <a:gd name="T7" fmla="*/ 24 h 3530"/>
                <a:gd name="T8" fmla="*/ 2221 w 4160"/>
                <a:gd name="T9" fmla="*/ 42 h 3530"/>
                <a:gd name="T10" fmla="*/ 2250 w 4160"/>
                <a:gd name="T11" fmla="*/ 64 h 3530"/>
                <a:gd name="T12" fmla="*/ 2277 w 4160"/>
                <a:gd name="T13" fmla="*/ 92 h 3530"/>
                <a:gd name="T14" fmla="*/ 2298 w 4160"/>
                <a:gd name="T15" fmla="*/ 122 h 3530"/>
                <a:gd name="T16" fmla="*/ 4123 w 4160"/>
                <a:gd name="T17" fmla="*/ 3144 h 3530"/>
                <a:gd name="T18" fmla="*/ 4141 w 4160"/>
                <a:gd name="T19" fmla="*/ 3179 h 3530"/>
                <a:gd name="T20" fmla="*/ 4152 w 4160"/>
                <a:gd name="T21" fmla="*/ 3215 h 3530"/>
                <a:gd name="T22" fmla="*/ 4159 w 4160"/>
                <a:gd name="T23" fmla="*/ 3253 h 3530"/>
                <a:gd name="T24" fmla="*/ 4160 w 4160"/>
                <a:gd name="T25" fmla="*/ 3291 h 3530"/>
                <a:gd name="T26" fmla="*/ 4155 w 4160"/>
                <a:gd name="T27" fmla="*/ 3329 h 3530"/>
                <a:gd name="T28" fmla="*/ 4144 w 4160"/>
                <a:gd name="T29" fmla="*/ 3365 h 3530"/>
                <a:gd name="T30" fmla="*/ 4127 w 4160"/>
                <a:gd name="T31" fmla="*/ 3400 h 3530"/>
                <a:gd name="T32" fmla="*/ 4106 w 4160"/>
                <a:gd name="T33" fmla="*/ 3433 h 3530"/>
                <a:gd name="T34" fmla="*/ 4079 w 4160"/>
                <a:gd name="T35" fmla="*/ 3461 h 3530"/>
                <a:gd name="T36" fmla="*/ 4049 w 4160"/>
                <a:gd name="T37" fmla="*/ 3485 h 3530"/>
                <a:gd name="T38" fmla="*/ 4016 w 4160"/>
                <a:gd name="T39" fmla="*/ 3505 h 3530"/>
                <a:gd name="T40" fmla="*/ 3981 w 4160"/>
                <a:gd name="T41" fmla="*/ 3519 h 3530"/>
                <a:gd name="T42" fmla="*/ 3944 w 4160"/>
                <a:gd name="T43" fmla="*/ 3527 h 3530"/>
                <a:gd name="T44" fmla="*/ 3905 w 4160"/>
                <a:gd name="T45" fmla="*/ 3530 h 3530"/>
                <a:gd name="T46" fmla="*/ 255 w 4160"/>
                <a:gd name="T47" fmla="*/ 3530 h 3530"/>
                <a:gd name="T48" fmla="*/ 216 w 4160"/>
                <a:gd name="T49" fmla="*/ 3527 h 3530"/>
                <a:gd name="T50" fmla="*/ 179 w 4160"/>
                <a:gd name="T51" fmla="*/ 3519 h 3530"/>
                <a:gd name="T52" fmla="*/ 144 w 4160"/>
                <a:gd name="T53" fmla="*/ 3505 h 3530"/>
                <a:gd name="T54" fmla="*/ 111 w 4160"/>
                <a:gd name="T55" fmla="*/ 3485 h 3530"/>
                <a:gd name="T56" fmla="*/ 81 w 4160"/>
                <a:gd name="T57" fmla="*/ 3461 h 3530"/>
                <a:gd name="T58" fmla="*/ 54 w 4160"/>
                <a:gd name="T59" fmla="*/ 3433 h 3530"/>
                <a:gd name="T60" fmla="*/ 33 w 4160"/>
                <a:gd name="T61" fmla="*/ 3400 h 3530"/>
                <a:gd name="T62" fmla="*/ 16 w 4160"/>
                <a:gd name="T63" fmla="*/ 3365 h 3530"/>
                <a:gd name="T64" fmla="*/ 5 w 4160"/>
                <a:gd name="T65" fmla="*/ 3329 h 3530"/>
                <a:gd name="T66" fmla="*/ 0 w 4160"/>
                <a:gd name="T67" fmla="*/ 3291 h 3530"/>
                <a:gd name="T68" fmla="*/ 1 w 4160"/>
                <a:gd name="T69" fmla="*/ 3253 h 3530"/>
                <a:gd name="T70" fmla="*/ 8 w 4160"/>
                <a:gd name="T71" fmla="*/ 3215 h 3530"/>
                <a:gd name="T72" fmla="*/ 19 w 4160"/>
                <a:gd name="T73" fmla="*/ 3179 h 3530"/>
                <a:gd name="T74" fmla="*/ 37 w 4160"/>
                <a:gd name="T75" fmla="*/ 3144 h 3530"/>
                <a:gd name="T76" fmla="*/ 1862 w 4160"/>
                <a:gd name="T77" fmla="*/ 122 h 3530"/>
                <a:gd name="T78" fmla="*/ 1883 w 4160"/>
                <a:gd name="T79" fmla="*/ 92 h 3530"/>
                <a:gd name="T80" fmla="*/ 1910 w 4160"/>
                <a:gd name="T81" fmla="*/ 64 h 3530"/>
                <a:gd name="T82" fmla="*/ 1939 w 4160"/>
                <a:gd name="T83" fmla="*/ 42 h 3530"/>
                <a:gd name="T84" fmla="*/ 1972 w 4160"/>
                <a:gd name="T85" fmla="*/ 24 h 3530"/>
                <a:gd name="T86" fmla="*/ 2006 w 4160"/>
                <a:gd name="T87" fmla="*/ 10 h 3530"/>
                <a:gd name="T88" fmla="*/ 2042 w 4160"/>
                <a:gd name="T89" fmla="*/ 3 h 3530"/>
                <a:gd name="T90" fmla="*/ 2079 w 4160"/>
                <a:gd name="T91" fmla="*/ 0 h 3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60" h="3530">
                  <a:moveTo>
                    <a:pt x="2079" y="0"/>
                  </a:moveTo>
                  <a:lnTo>
                    <a:pt x="2118" y="3"/>
                  </a:lnTo>
                  <a:lnTo>
                    <a:pt x="2154" y="10"/>
                  </a:lnTo>
                  <a:lnTo>
                    <a:pt x="2188" y="24"/>
                  </a:lnTo>
                  <a:lnTo>
                    <a:pt x="2221" y="42"/>
                  </a:lnTo>
                  <a:lnTo>
                    <a:pt x="2250" y="64"/>
                  </a:lnTo>
                  <a:lnTo>
                    <a:pt x="2277" y="92"/>
                  </a:lnTo>
                  <a:lnTo>
                    <a:pt x="2298" y="122"/>
                  </a:lnTo>
                  <a:lnTo>
                    <a:pt x="4123" y="3144"/>
                  </a:lnTo>
                  <a:lnTo>
                    <a:pt x="4141" y="3179"/>
                  </a:lnTo>
                  <a:lnTo>
                    <a:pt x="4152" y="3215"/>
                  </a:lnTo>
                  <a:lnTo>
                    <a:pt x="4159" y="3253"/>
                  </a:lnTo>
                  <a:lnTo>
                    <a:pt x="4160" y="3291"/>
                  </a:lnTo>
                  <a:lnTo>
                    <a:pt x="4155" y="3329"/>
                  </a:lnTo>
                  <a:lnTo>
                    <a:pt x="4144" y="3365"/>
                  </a:lnTo>
                  <a:lnTo>
                    <a:pt x="4127" y="3400"/>
                  </a:lnTo>
                  <a:lnTo>
                    <a:pt x="4106" y="3433"/>
                  </a:lnTo>
                  <a:lnTo>
                    <a:pt x="4079" y="3461"/>
                  </a:lnTo>
                  <a:lnTo>
                    <a:pt x="4049" y="3485"/>
                  </a:lnTo>
                  <a:lnTo>
                    <a:pt x="4016" y="3505"/>
                  </a:lnTo>
                  <a:lnTo>
                    <a:pt x="3981" y="3519"/>
                  </a:lnTo>
                  <a:lnTo>
                    <a:pt x="3944" y="3527"/>
                  </a:lnTo>
                  <a:lnTo>
                    <a:pt x="3905" y="3530"/>
                  </a:lnTo>
                  <a:lnTo>
                    <a:pt x="255" y="3530"/>
                  </a:lnTo>
                  <a:lnTo>
                    <a:pt x="216" y="3527"/>
                  </a:lnTo>
                  <a:lnTo>
                    <a:pt x="179" y="3519"/>
                  </a:lnTo>
                  <a:lnTo>
                    <a:pt x="144" y="3505"/>
                  </a:lnTo>
                  <a:lnTo>
                    <a:pt x="111" y="3485"/>
                  </a:lnTo>
                  <a:lnTo>
                    <a:pt x="81" y="3461"/>
                  </a:lnTo>
                  <a:lnTo>
                    <a:pt x="54" y="3433"/>
                  </a:lnTo>
                  <a:lnTo>
                    <a:pt x="33" y="3400"/>
                  </a:lnTo>
                  <a:lnTo>
                    <a:pt x="16" y="3365"/>
                  </a:lnTo>
                  <a:lnTo>
                    <a:pt x="5" y="3329"/>
                  </a:lnTo>
                  <a:lnTo>
                    <a:pt x="0" y="3291"/>
                  </a:lnTo>
                  <a:lnTo>
                    <a:pt x="1" y="3253"/>
                  </a:lnTo>
                  <a:lnTo>
                    <a:pt x="8" y="3215"/>
                  </a:lnTo>
                  <a:lnTo>
                    <a:pt x="19" y="3179"/>
                  </a:lnTo>
                  <a:lnTo>
                    <a:pt x="37" y="3144"/>
                  </a:lnTo>
                  <a:lnTo>
                    <a:pt x="1862" y="122"/>
                  </a:lnTo>
                  <a:lnTo>
                    <a:pt x="1883" y="92"/>
                  </a:lnTo>
                  <a:lnTo>
                    <a:pt x="1910" y="64"/>
                  </a:lnTo>
                  <a:lnTo>
                    <a:pt x="1939" y="42"/>
                  </a:lnTo>
                  <a:lnTo>
                    <a:pt x="1972" y="24"/>
                  </a:lnTo>
                  <a:lnTo>
                    <a:pt x="2006" y="10"/>
                  </a:lnTo>
                  <a:lnTo>
                    <a:pt x="2042" y="3"/>
                  </a:lnTo>
                  <a:lnTo>
                    <a:pt x="2079" y="0"/>
                  </a:lnTo>
                  <a:close/>
                </a:path>
              </a:pathLst>
            </a:custGeom>
            <a:solidFill>
              <a:srgbClr val="FFC000"/>
            </a:solidFill>
            <a:ln w="0">
              <a:solidFill>
                <a:srgbClr val="FF86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>
                <a:defRPr/>
              </a:pPr>
              <a:endParaRPr lang="en-US" sz="1900" ker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" name="Freeform 7"/>
            <p:cNvSpPr>
              <a:spLocks/>
            </p:cNvSpPr>
            <p:nvPr/>
          </p:nvSpPr>
          <p:spPr bwMode="auto">
            <a:xfrm>
              <a:off x="398" y="1300"/>
              <a:ext cx="520" cy="882"/>
            </a:xfrm>
            <a:custGeom>
              <a:avLst/>
              <a:gdLst>
                <a:gd name="T0" fmla="*/ 2079 w 2079"/>
                <a:gd name="T1" fmla="*/ 0 h 3530"/>
                <a:gd name="T2" fmla="*/ 2079 w 2079"/>
                <a:gd name="T3" fmla="*/ 3530 h 3530"/>
                <a:gd name="T4" fmla="*/ 255 w 2079"/>
                <a:gd name="T5" fmla="*/ 3530 h 3530"/>
                <a:gd name="T6" fmla="*/ 216 w 2079"/>
                <a:gd name="T7" fmla="*/ 3527 h 3530"/>
                <a:gd name="T8" fmla="*/ 179 w 2079"/>
                <a:gd name="T9" fmla="*/ 3519 h 3530"/>
                <a:gd name="T10" fmla="*/ 144 w 2079"/>
                <a:gd name="T11" fmla="*/ 3505 h 3530"/>
                <a:gd name="T12" fmla="*/ 111 w 2079"/>
                <a:gd name="T13" fmla="*/ 3485 h 3530"/>
                <a:gd name="T14" fmla="*/ 81 w 2079"/>
                <a:gd name="T15" fmla="*/ 3461 h 3530"/>
                <a:gd name="T16" fmla="*/ 54 w 2079"/>
                <a:gd name="T17" fmla="*/ 3433 h 3530"/>
                <a:gd name="T18" fmla="*/ 33 w 2079"/>
                <a:gd name="T19" fmla="*/ 3400 h 3530"/>
                <a:gd name="T20" fmla="*/ 16 w 2079"/>
                <a:gd name="T21" fmla="*/ 3365 h 3530"/>
                <a:gd name="T22" fmla="*/ 5 w 2079"/>
                <a:gd name="T23" fmla="*/ 3329 h 3530"/>
                <a:gd name="T24" fmla="*/ 0 w 2079"/>
                <a:gd name="T25" fmla="*/ 3291 h 3530"/>
                <a:gd name="T26" fmla="*/ 1 w 2079"/>
                <a:gd name="T27" fmla="*/ 3253 h 3530"/>
                <a:gd name="T28" fmla="*/ 8 w 2079"/>
                <a:gd name="T29" fmla="*/ 3215 h 3530"/>
                <a:gd name="T30" fmla="*/ 19 w 2079"/>
                <a:gd name="T31" fmla="*/ 3179 h 3530"/>
                <a:gd name="T32" fmla="*/ 37 w 2079"/>
                <a:gd name="T33" fmla="*/ 3144 h 3530"/>
                <a:gd name="T34" fmla="*/ 1862 w 2079"/>
                <a:gd name="T35" fmla="*/ 122 h 3530"/>
                <a:gd name="T36" fmla="*/ 1883 w 2079"/>
                <a:gd name="T37" fmla="*/ 92 h 3530"/>
                <a:gd name="T38" fmla="*/ 1910 w 2079"/>
                <a:gd name="T39" fmla="*/ 64 h 3530"/>
                <a:gd name="T40" fmla="*/ 1939 w 2079"/>
                <a:gd name="T41" fmla="*/ 42 h 3530"/>
                <a:gd name="T42" fmla="*/ 1972 w 2079"/>
                <a:gd name="T43" fmla="*/ 24 h 3530"/>
                <a:gd name="T44" fmla="*/ 2006 w 2079"/>
                <a:gd name="T45" fmla="*/ 10 h 3530"/>
                <a:gd name="T46" fmla="*/ 2042 w 2079"/>
                <a:gd name="T47" fmla="*/ 3 h 3530"/>
                <a:gd name="T48" fmla="*/ 2079 w 2079"/>
                <a:gd name="T49" fmla="*/ 0 h 3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79" h="3530">
                  <a:moveTo>
                    <a:pt x="2079" y="0"/>
                  </a:moveTo>
                  <a:lnTo>
                    <a:pt x="2079" y="3530"/>
                  </a:lnTo>
                  <a:lnTo>
                    <a:pt x="255" y="3530"/>
                  </a:lnTo>
                  <a:lnTo>
                    <a:pt x="216" y="3527"/>
                  </a:lnTo>
                  <a:lnTo>
                    <a:pt x="179" y="3519"/>
                  </a:lnTo>
                  <a:lnTo>
                    <a:pt x="144" y="3505"/>
                  </a:lnTo>
                  <a:lnTo>
                    <a:pt x="111" y="3485"/>
                  </a:lnTo>
                  <a:lnTo>
                    <a:pt x="81" y="3461"/>
                  </a:lnTo>
                  <a:lnTo>
                    <a:pt x="54" y="3433"/>
                  </a:lnTo>
                  <a:lnTo>
                    <a:pt x="33" y="3400"/>
                  </a:lnTo>
                  <a:lnTo>
                    <a:pt x="16" y="3365"/>
                  </a:lnTo>
                  <a:lnTo>
                    <a:pt x="5" y="3329"/>
                  </a:lnTo>
                  <a:lnTo>
                    <a:pt x="0" y="3291"/>
                  </a:lnTo>
                  <a:lnTo>
                    <a:pt x="1" y="3253"/>
                  </a:lnTo>
                  <a:lnTo>
                    <a:pt x="8" y="3215"/>
                  </a:lnTo>
                  <a:lnTo>
                    <a:pt x="19" y="3179"/>
                  </a:lnTo>
                  <a:lnTo>
                    <a:pt x="37" y="3144"/>
                  </a:lnTo>
                  <a:lnTo>
                    <a:pt x="1862" y="122"/>
                  </a:lnTo>
                  <a:lnTo>
                    <a:pt x="1883" y="92"/>
                  </a:lnTo>
                  <a:lnTo>
                    <a:pt x="1910" y="64"/>
                  </a:lnTo>
                  <a:lnTo>
                    <a:pt x="1939" y="42"/>
                  </a:lnTo>
                  <a:lnTo>
                    <a:pt x="1972" y="24"/>
                  </a:lnTo>
                  <a:lnTo>
                    <a:pt x="2006" y="10"/>
                  </a:lnTo>
                  <a:lnTo>
                    <a:pt x="2042" y="3"/>
                  </a:lnTo>
                  <a:lnTo>
                    <a:pt x="2079" y="0"/>
                  </a:lnTo>
                  <a:close/>
                </a:path>
              </a:pathLst>
            </a:custGeom>
            <a:solidFill>
              <a:srgbClr val="FFC000">
                <a:lumMod val="40000"/>
                <a:lumOff val="60000"/>
              </a:srgbClr>
            </a:solidFill>
            <a:ln w="0">
              <a:solidFill>
                <a:srgbClr val="FBE51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>
                <a:defRPr/>
              </a:pPr>
              <a:endParaRPr lang="en-US" sz="1900" ker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9" name="Freeform 8"/>
            <p:cNvSpPr>
              <a:spLocks noEditPoints="1"/>
            </p:cNvSpPr>
            <p:nvPr/>
          </p:nvSpPr>
          <p:spPr bwMode="auto">
            <a:xfrm>
              <a:off x="514" y="1384"/>
              <a:ext cx="809" cy="715"/>
            </a:xfrm>
            <a:custGeom>
              <a:avLst/>
              <a:gdLst>
                <a:gd name="T0" fmla="*/ 1616 w 3236"/>
                <a:gd name="T1" fmla="*/ 248 h 2863"/>
                <a:gd name="T2" fmla="*/ 222 w 3236"/>
                <a:gd name="T3" fmla="*/ 2699 h 2863"/>
                <a:gd name="T4" fmla="*/ 3013 w 3236"/>
                <a:gd name="T5" fmla="*/ 2699 h 2863"/>
                <a:gd name="T6" fmla="*/ 1616 w 3236"/>
                <a:gd name="T7" fmla="*/ 248 h 2863"/>
                <a:gd name="T8" fmla="*/ 1615 w 3236"/>
                <a:gd name="T9" fmla="*/ 0 h 2863"/>
                <a:gd name="T10" fmla="*/ 1616 w 3236"/>
                <a:gd name="T11" fmla="*/ 0 h 2863"/>
                <a:gd name="T12" fmla="*/ 1637 w 3236"/>
                <a:gd name="T13" fmla="*/ 4 h 2863"/>
                <a:gd name="T14" fmla="*/ 1658 w 3236"/>
                <a:gd name="T15" fmla="*/ 12 h 2863"/>
                <a:gd name="T16" fmla="*/ 1674 w 3236"/>
                <a:gd name="T17" fmla="*/ 25 h 2863"/>
                <a:gd name="T18" fmla="*/ 1688 w 3236"/>
                <a:gd name="T19" fmla="*/ 42 h 2863"/>
                <a:gd name="T20" fmla="*/ 3226 w 3236"/>
                <a:gd name="T21" fmla="*/ 2741 h 2863"/>
                <a:gd name="T22" fmla="*/ 3233 w 3236"/>
                <a:gd name="T23" fmla="*/ 2760 h 2863"/>
                <a:gd name="T24" fmla="*/ 3236 w 3236"/>
                <a:gd name="T25" fmla="*/ 2781 h 2863"/>
                <a:gd name="T26" fmla="*/ 3233 w 3236"/>
                <a:gd name="T27" fmla="*/ 2803 h 2863"/>
                <a:gd name="T28" fmla="*/ 3225 w 3236"/>
                <a:gd name="T29" fmla="*/ 2822 h 2863"/>
                <a:gd name="T30" fmla="*/ 3212 w 3236"/>
                <a:gd name="T31" fmla="*/ 2839 h 2863"/>
                <a:gd name="T32" fmla="*/ 3196 w 3236"/>
                <a:gd name="T33" fmla="*/ 2852 h 2863"/>
                <a:gd name="T34" fmla="*/ 3175 w 3236"/>
                <a:gd name="T35" fmla="*/ 2861 h 2863"/>
                <a:gd name="T36" fmla="*/ 3154 w 3236"/>
                <a:gd name="T37" fmla="*/ 2863 h 2863"/>
                <a:gd name="T38" fmla="*/ 82 w 3236"/>
                <a:gd name="T39" fmla="*/ 2863 h 2863"/>
                <a:gd name="T40" fmla="*/ 60 w 3236"/>
                <a:gd name="T41" fmla="*/ 2861 h 2863"/>
                <a:gd name="T42" fmla="*/ 40 w 3236"/>
                <a:gd name="T43" fmla="*/ 2852 h 2863"/>
                <a:gd name="T44" fmla="*/ 24 w 3236"/>
                <a:gd name="T45" fmla="*/ 2839 h 2863"/>
                <a:gd name="T46" fmla="*/ 10 w 3236"/>
                <a:gd name="T47" fmla="*/ 2823 h 2863"/>
                <a:gd name="T48" fmla="*/ 2 w 3236"/>
                <a:gd name="T49" fmla="*/ 2803 h 2863"/>
                <a:gd name="T50" fmla="*/ 0 w 3236"/>
                <a:gd name="T51" fmla="*/ 2781 h 2863"/>
                <a:gd name="T52" fmla="*/ 2 w 3236"/>
                <a:gd name="T53" fmla="*/ 2761 h 2863"/>
                <a:gd name="T54" fmla="*/ 10 w 3236"/>
                <a:gd name="T55" fmla="*/ 2741 h 2863"/>
                <a:gd name="T56" fmla="*/ 1544 w 3236"/>
                <a:gd name="T57" fmla="*/ 42 h 2863"/>
                <a:gd name="T58" fmla="*/ 1558 w 3236"/>
                <a:gd name="T59" fmla="*/ 25 h 2863"/>
                <a:gd name="T60" fmla="*/ 1574 w 3236"/>
                <a:gd name="T61" fmla="*/ 12 h 2863"/>
                <a:gd name="T62" fmla="*/ 1595 w 3236"/>
                <a:gd name="T63" fmla="*/ 4 h 2863"/>
                <a:gd name="T64" fmla="*/ 1615 w 3236"/>
                <a:gd name="T65" fmla="*/ 0 h 2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36" h="2863">
                  <a:moveTo>
                    <a:pt x="1616" y="248"/>
                  </a:moveTo>
                  <a:lnTo>
                    <a:pt x="222" y="2699"/>
                  </a:lnTo>
                  <a:lnTo>
                    <a:pt x="3013" y="2699"/>
                  </a:lnTo>
                  <a:lnTo>
                    <a:pt x="1616" y="248"/>
                  </a:lnTo>
                  <a:close/>
                  <a:moveTo>
                    <a:pt x="1615" y="0"/>
                  </a:moveTo>
                  <a:lnTo>
                    <a:pt x="1616" y="0"/>
                  </a:lnTo>
                  <a:lnTo>
                    <a:pt x="1637" y="4"/>
                  </a:lnTo>
                  <a:lnTo>
                    <a:pt x="1658" y="12"/>
                  </a:lnTo>
                  <a:lnTo>
                    <a:pt x="1674" y="25"/>
                  </a:lnTo>
                  <a:lnTo>
                    <a:pt x="1688" y="42"/>
                  </a:lnTo>
                  <a:lnTo>
                    <a:pt x="3226" y="2741"/>
                  </a:lnTo>
                  <a:lnTo>
                    <a:pt x="3233" y="2760"/>
                  </a:lnTo>
                  <a:lnTo>
                    <a:pt x="3236" y="2781"/>
                  </a:lnTo>
                  <a:lnTo>
                    <a:pt x="3233" y="2803"/>
                  </a:lnTo>
                  <a:lnTo>
                    <a:pt x="3225" y="2822"/>
                  </a:lnTo>
                  <a:lnTo>
                    <a:pt x="3212" y="2839"/>
                  </a:lnTo>
                  <a:lnTo>
                    <a:pt x="3196" y="2852"/>
                  </a:lnTo>
                  <a:lnTo>
                    <a:pt x="3175" y="2861"/>
                  </a:lnTo>
                  <a:lnTo>
                    <a:pt x="3154" y="2863"/>
                  </a:lnTo>
                  <a:lnTo>
                    <a:pt x="82" y="2863"/>
                  </a:lnTo>
                  <a:lnTo>
                    <a:pt x="60" y="2861"/>
                  </a:lnTo>
                  <a:lnTo>
                    <a:pt x="40" y="2852"/>
                  </a:lnTo>
                  <a:lnTo>
                    <a:pt x="24" y="2839"/>
                  </a:lnTo>
                  <a:lnTo>
                    <a:pt x="10" y="2823"/>
                  </a:lnTo>
                  <a:lnTo>
                    <a:pt x="2" y="2803"/>
                  </a:lnTo>
                  <a:lnTo>
                    <a:pt x="0" y="2781"/>
                  </a:lnTo>
                  <a:lnTo>
                    <a:pt x="2" y="2761"/>
                  </a:lnTo>
                  <a:lnTo>
                    <a:pt x="10" y="2741"/>
                  </a:lnTo>
                  <a:lnTo>
                    <a:pt x="1544" y="42"/>
                  </a:lnTo>
                  <a:lnTo>
                    <a:pt x="1558" y="25"/>
                  </a:lnTo>
                  <a:lnTo>
                    <a:pt x="1574" y="12"/>
                  </a:lnTo>
                  <a:lnTo>
                    <a:pt x="1595" y="4"/>
                  </a:lnTo>
                  <a:lnTo>
                    <a:pt x="1615" y="0"/>
                  </a:lnTo>
                  <a:close/>
                </a:path>
              </a:pathLst>
            </a:custGeom>
            <a:solidFill>
              <a:srgbClr val="FF0000"/>
            </a:solidFill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>
                <a:defRPr/>
              </a:pPr>
              <a:endParaRPr lang="en-US" sz="1900" ker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0" name="Freeform 9"/>
            <p:cNvSpPr>
              <a:spLocks/>
            </p:cNvSpPr>
            <p:nvPr/>
          </p:nvSpPr>
          <p:spPr bwMode="auto">
            <a:xfrm>
              <a:off x="514" y="1384"/>
              <a:ext cx="405" cy="715"/>
            </a:xfrm>
            <a:custGeom>
              <a:avLst/>
              <a:gdLst>
                <a:gd name="T0" fmla="*/ 1615 w 1619"/>
                <a:gd name="T1" fmla="*/ 0 h 2863"/>
                <a:gd name="T2" fmla="*/ 1616 w 1619"/>
                <a:gd name="T3" fmla="*/ 0 h 2863"/>
                <a:gd name="T4" fmla="*/ 1616 w 1619"/>
                <a:gd name="T5" fmla="*/ 248 h 2863"/>
                <a:gd name="T6" fmla="*/ 222 w 1619"/>
                <a:gd name="T7" fmla="*/ 2699 h 2863"/>
                <a:gd name="T8" fmla="*/ 1619 w 1619"/>
                <a:gd name="T9" fmla="*/ 2699 h 2863"/>
                <a:gd name="T10" fmla="*/ 1619 w 1619"/>
                <a:gd name="T11" fmla="*/ 2863 h 2863"/>
                <a:gd name="T12" fmla="*/ 82 w 1619"/>
                <a:gd name="T13" fmla="*/ 2863 h 2863"/>
                <a:gd name="T14" fmla="*/ 60 w 1619"/>
                <a:gd name="T15" fmla="*/ 2861 h 2863"/>
                <a:gd name="T16" fmla="*/ 40 w 1619"/>
                <a:gd name="T17" fmla="*/ 2852 h 2863"/>
                <a:gd name="T18" fmla="*/ 24 w 1619"/>
                <a:gd name="T19" fmla="*/ 2839 h 2863"/>
                <a:gd name="T20" fmla="*/ 10 w 1619"/>
                <a:gd name="T21" fmla="*/ 2823 h 2863"/>
                <a:gd name="T22" fmla="*/ 2 w 1619"/>
                <a:gd name="T23" fmla="*/ 2803 h 2863"/>
                <a:gd name="T24" fmla="*/ 0 w 1619"/>
                <a:gd name="T25" fmla="*/ 2781 h 2863"/>
                <a:gd name="T26" fmla="*/ 2 w 1619"/>
                <a:gd name="T27" fmla="*/ 2761 h 2863"/>
                <a:gd name="T28" fmla="*/ 10 w 1619"/>
                <a:gd name="T29" fmla="*/ 2741 h 2863"/>
                <a:gd name="T30" fmla="*/ 1544 w 1619"/>
                <a:gd name="T31" fmla="*/ 42 h 2863"/>
                <a:gd name="T32" fmla="*/ 1558 w 1619"/>
                <a:gd name="T33" fmla="*/ 25 h 2863"/>
                <a:gd name="T34" fmla="*/ 1574 w 1619"/>
                <a:gd name="T35" fmla="*/ 12 h 2863"/>
                <a:gd name="T36" fmla="*/ 1595 w 1619"/>
                <a:gd name="T37" fmla="*/ 4 h 2863"/>
                <a:gd name="T38" fmla="*/ 1615 w 1619"/>
                <a:gd name="T39" fmla="*/ 0 h 2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9" h="2863">
                  <a:moveTo>
                    <a:pt x="1615" y="0"/>
                  </a:moveTo>
                  <a:lnTo>
                    <a:pt x="1616" y="0"/>
                  </a:lnTo>
                  <a:lnTo>
                    <a:pt x="1616" y="248"/>
                  </a:lnTo>
                  <a:lnTo>
                    <a:pt x="222" y="2699"/>
                  </a:lnTo>
                  <a:lnTo>
                    <a:pt x="1619" y="2699"/>
                  </a:lnTo>
                  <a:lnTo>
                    <a:pt x="1619" y="2863"/>
                  </a:lnTo>
                  <a:lnTo>
                    <a:pt x="82" y="2863"/>
                  </a:lnTo>
                  <a:lnTo>
                    <a:pt x="60" y="2861"/>
                  </a:lnTo>
                  <a:lnTo>
                    <a:pt x="40" y="2852"/>
                  </a:lnTo>
                  <a:lnTo>
                    <a:pt x="24" y="2839"/>
                  </a:lnTo>
                  <a:lnTo>
                    <a:pt x="10" y="2823"/>
                  </a:lnTo>
                  <a:lnTo>
                    <a:pt x="2" y="2803"/>
                  </a:lnTo>
                  <a:lnTo>
                    <a:pt x="0" y="2781"/>
                  </a:lnTo>
                  <a:lnTo>
                    <a:pt x="2" y="2761"/>
                  </a:lnTo>
                  <a:lnTo>
                    <a:pt x="10" y="2741"/>
                  </a:lnTo>
                  <a:lnTo>
                    <a:pt x="1544" y="42"/>
                  </a:lnTo>
                  <a:lnTo>
                    <a:pt x="1558" y="25"/>
                  </a:lnTo>
                  <a:lnTo>
                    <a:pt x="1574" y="12"/>
                  </a:lnTo>
                  <a:lnTo>
                    <a:pt x="1595" y="4"/>
                  </a:lnTo>
                  <a:lnTo>
                    <a:pt x="1615" y="0"/>
                  </a:lnTo>
                  <a:close/>
                </a:path>
              </a:pathLst>
            </a:custGeom>
            <a:solidFill>
              <a:srgbClr val="FF2700"/>
            </a:solidFill>
            <a:ln w="0">
              <a:solidFill>
                <a:srgbClr val="FF27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>
                <a:defRPr/>
              </a:pPr>
              <a:endParaRPr lang="en-US" sz="1900" ker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1" name="Freeform 10"/>
            <p:cNvSpPr>
              <a:spLocks noEditPoints="1"/>
            </p:cNvSpPr>
            <p:nvPr/>
          </p:nvSpPr>
          <p:spPr bwMode="auto">
            <a:xfrm>
              <a:off x="872" y="1583"/>
              <a:ext cx="94" cy="450"/>
            </a:xfrm>
            <a:custGeom>
              <a:avLst/>
              <a:gdLst>
                <a:gd name="T0" fmla="*/ 224 w 374"/>
                <a:gd name="T1" fmla="*/ 1427 h 1800"/>
                <a:gd name="T2" fmla="*/ 291 w 374"/>
                <a:gd name="T3" fmla="*/ 1456 h 1800"/>
                <a:gd name="T4" fmla="*/ 342 w 374"/>
                <a:gd name="T5" fmla="*/ 1506 h 1800"/>
                <a:gd name="T6" fmla="*/ 371 w 374"/>
                <a:gd name="T7" fmla="*/ 1574 h 1800"/>
                <a:gd name="T8" fmla="*/ 371 w 374"/>
                <a:gd name="T9" fmla="*/ 1649 h 1800"/>
                <a:gd name="T10" fmla="*/ 342 w 374"/>
                <a:gd name="T11" fmla="*/ 1715 h 1800"/>
                <a:gd name="T12" fmla="*/ 291 w 374"/>
                <a:gd name="T13" fmla="*/ 1767 h 1800"/>
                <a:gd name="T14" fmla="*/ 224 w 374"/>
                <a:gd name="T15" fmla="*/ 1796 h 1800"/>
                <a:gd name="T16" fmla="*/ 154 w 374"/>
                <a:gd name="T17" fmla="*/ 1796 h 1800"/>
                <a:gd name="T18" fmla="*/ 91 w 374"/>
                <a:gd name="T19" fmla="*/ 1773 h 1800"/>
                <a:gd name="T20" fmla="*/ 43 w 374"/>
                <a:gd name="T21" fmla="*/ 1732 h 1800"/>
                <a:gd name="T22" fmla="*/ 11 w 374"/>
                <a:gd name="T23" fmla="*/ 1675 h 1800"/>
                <a:gd name="T24" fmla="*/ 0 w 374"/>
                <a:gd name="T25" fmla="*/ 1611 h 1800"/>
                <a:gd name="T26" fmla="*/ 11 w 374"/>
                <a:gd name="T27" fmla="*/ 1547 h 1800"/>
                <a:gd name="T28" fmla="*/ 43 w 374"/>
                <a:gd name="T29" fmla="*/ 1491 h 1800"/>
                <a:gd name="T30" fmla="*/ 91 w 374"/>
                <a:gd name="T31" fmla="*/ 1450 h 1800"/>
                <a:gd name="T32" fmla="*/ 154 w 374"/>
                <a:gd name="T33" fmla="*/ 1427 h 1800"/>
                <a:gd name="T34" fmla="*/ 185 w 374"/>
                <a:gd name="T35" fmla="*/ 0 h 1800"/>
                <a:gd name="T36" fmla="*/ 246 w 374"/>
                <a:gd name="T37" fmla="*/ 8 h 1800"/>
                <a:gd name="T38" fmla="*/ 299 w 374"/>
                <a:gd name="T39" fmla="*/ 30 h 1800"/>
                <a:gd name="T40" fmla="*/ 337 w 374"/>
                <a:gd name="T41" fmla="*/ 68 h 1800"/>
                <a:gd name="T42" fmla="*/ 359 w 374"/>
                <a:gd name="T43" fmla="*/ 118 h 1800"/>
                <a:gd name="T44" fmla="*/ 360 w 374"/>
                <a:gd name="T45" fmla="*/ 239 h 1800"/>
                <a:gd name="T46" fmla="*/ 354 w 374"/>
                <a:gd name="T47" fmla="*/ 438 h 1800"/>
                <a:gd name="T48" fmla="*/ 344 w 374"/>
                <a:gd name="T49" fmla="*/ 648 h 1800"/>
                <a:gd name="T50" fmla="*/ 335 w 374"/>
                <a:gd name="T51" fmla="*/ 858 h 1800"/>
                <a:gd name="T52" fmla="*/ 328 w 374"/>
                <a:gd name="T53" fmla="*/ 1057 h 1800"/>
                <a:gd name="T54" fmla="*/ 324 w 374"/>
                <a:gd name="T55" fmla="*/ 1172 h 1800"/>
                <a:gd name="T56" fmla="*/ 304 w 374"/>
                <a:gd name="T57" fmla="*/ 1209 h 1800"/>
                <a:gd name="T58" fmla="*/ 268 w 374"/>
                <a:gd name="T59" fmla="*/ 1235 h 1800"/>
                <a:gd name="T60" fmla="*/ 227 w 374"/>
                <a:gd name="T61" fmla="*/ 1250 h 1800"/>
                <a:gd name="T62" fmla="*/ 185 w 374"/>
                <a:gd name="T63" fmla="*/ 1255 h 1800"/>
                <a:gd name="T64" fmla="*/ 136 w 374"/>
                <a:gd name="T65" fmla="*/ 1250 h 1800"/>
                <a:gd name="T66" fmla="*/ 93 w 374"/>
                <a:gd name="T67" fmla="*/ 1235 h 1800"/>
                <a:gd name="T68" fmla="*/ 62 w 374"/>
                <a:gd name="T69" fmla="*/ 1209 h 1800"/>
                <a:gd name="T70" fmla="*/ 44 w 374"/>
                <a:gd name="T71" fmla="*/ 1172 h 1800"/>
                <a:gd name="T72" fmla="*/ 40 w 374"/>
                <a:gd name="T73" fmla="*/ 1057 h 1800"/>
                <a:gd name="T74" fmla="*/ 34 w 374"/>
                <a:gd name="T75" fmla="*/ 858 h 1800"/>
                <a:gd name="T76" fmla="*/ 24 w 374"/>
                <a:gd name="T77" fmla="*/ 648 h 1800"/>
                <a:gd name="T78" fmla="*/ 14 w 374"/>
                <a:gd name="T79" fmla="*/ 438 h 1800"/>
                <a:gd name="T80" fmla="*/ 8 w 374"/>
                <a:gd name="T81" fmla="*/ 239 h 1800"/>
                <a:gd name="T82" fmla="*/ 10 w 374"/>
                <a:gd name="T83" fmla="*/ 118 h 1800"/>
                <a:gd name="T84" fmla="*/ 31 w 374"/>
                <a:gd name="T85" fmla="*/ 68 h 1800"/>
                <a:gd name="T86" fmla="*/ 69 w 374"/>
                <a:gd name="T87" fmla="*/ 30 h 1800"/>
                <a:gd name="T88" fmla="*/ 122 w 374"/>
                <a:gd name="T89" fmla="*/ 8 h 1800"/>
                <a:gd name="T90" fmla="*/ 185 w 374"/>
                <a:gd name="T91" fmla="*/ 0 h 1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1800">
                  <a:moveTo>
                    <a:pt x="188" y="1423"/>
                  </a:moveTo>
                  <a:lnTo>
                    <a:pt x="224" y="1427"/>
                  </a:lnTo>
                  <a:lnTo>
                    <a:pt x="260" y="1438"/>
                  </a:lnTo>
                  <a:lnTo>
                    <a:pt x="291" y="1456"/>
                  </a:lnTo>
                  <a:lnTo>
                    <a:pt x="319" y="1479"/>
                  </a:lnTo>
                  <a:lnTo>
                    <a:pt x="342" y="1506"/>
                  </a:lnTo>
                  <a:lnTo>
                    <a:pt x="359" y="1539"/>
                  </a:lnTo>
                  <a:lnTo>
                    <a:pt x="371" y="1574"/>
                  </a:lnTo>
                  <a:lnTo>
                    <a:pt x="374" y="1611"/>
                  </a:lnTo>
                  <a:lnTo>
                    <a:pt x="371" y="1649"/>
                  </a:lnTo>
                  <a:lnTo>
                    <a:pt x="359" y="1683"/>
                  </a:lnTo>
                  <a:lnTo>
                    <a:pt x="342" y="1715"/>
                  </a:lnTo>
                  <a:lnTo>
                    <a:pt x="319" y="1743"/>
                  </a:lnTo>
                  <a:lnTo>
                    <a:pt x="291" y="1767"/>
                  </a:lnTo>
                  <a:lnTo>
                    <a:pt x="260" y="1784"/>
                  </a:lnTo>
                  <a:lnTo>
                    <a:pt x="224" y="1796"/>
                  </a:lnTo>
                  <a:lnTo>
                    <a:pt x="188" y="1800"/>
                  </a:lnTo>
                  <a:lnTo>
                    <a:pt x="154" y="1796"/>
                  </a:lnTo>
                  <a:lnTo>
                    <a:pt x="121" y="1787"/>
                  </a:lnTo>
                  <a:lnTo>
                    <a:pt x="91" y="1773"/>
                  </a:lnTo>
                  <a:lnTo>
                    <a:pt x="66" y="1754"/>
                  </a:lnTo>
                  <a:lnTo>
                    <a:pt x="43" y="1732"/>
                  </a:lnTo>
                  <a:lnTo>
                    <a:pt x="24" y="1705"/>
                  </a:lnTo>
                  <a:lnTo>
                    <a:pt x="11" y="1675"/>
                  </a:lnTo>
                  <a:lnTo>
                    <a:pt x="2" y="1645"/>
                  </a:lnTo>
                  <a:lnTo>
                    <a:pt x="0" y="1611"/>
                  </a:lnTo>
                  <a:lnTo>
                    <a:pt x="2" y="1578"/>
                  </a:lnTo>
                  <a:lnTo>
                    <a:pt x="11" y="1547"/>
                  </a:lnTo>
                  <a:lnTo>
                    <a:pt x="24" y="1518"/>
                  </a:lnTo>
                  <a:lnTo>
                    <a:pt x="43" y="1491"/>
                  </a:lnTo>
                  <a:lnTo>
                    <a:pt x="66" y="1469"/>
                  </a:lnTo>
                  <a:lnTo>
                    <a:pt x="91" y="1450"/>
                  </a:lnTo>
                  <a:lnTo>
                    <a:pt x="121" y="1436"/>
                  </a:lnTo>
                  <a:lnTo>
                    <a:pt x="154" y="1427"/>
                  </a:lnTo>
                  <a:lnTo>
                    <a:pt x="188" y="1423"/>
                  </a:lnTo>
                  <a:close/>
                  <a:moveTo>
                    <a:pt x="185" y="0"/>
                  </a:moveTo>
                  <a:lnTo>
                    <a:pt x="217" y="1"/>
                  </a:lnTo>
                  <a:lnTo>
                    <a:pt x="246" y="8"/>
                  </a:lnTo>
                  <a:lnTo>
                    <a:pt x="274" y="18"/>
                  </a:lnTo>
                  <a:lnTo>
                    <a:pt x="299" y="30"/>
                  </a:lnTo>
                  <a:lnTo>
                    <a:pt x="320" y="48"/>
                  </a:lnTo>
                  <a:lnTo>
                    <a:pt x="337" y="68"/>
                  </a:lnTo>
                  <a:lnTo>
                    <a:pt x="350" y="92"/>
                  </a:lnTo>
                  <a:lnTo>
                    <a:pt x="359" y="118"/>
                  </a:lnTo>
                  <a:lnTo>
                    <a:pt x="362" y="149"/>
                  </a:lnTo>
                  <a:lnTo>
                    <a:pt x="360" y="239"/>
                  </a:lnTo>
                  <a:lnTo>
                    <a:pt x="358" y="336"/>
                  </a:lnTo>
                  <a:lnTo>
                    <a:pt x="354" y="438"/>
                  </a:lnTo>
                  <a:lnTo>
                    <a:pt x="349" y="542"/>
                  </a:lnTo>
                  <a:lnTo>
                    <a:pt x="344" y="648"/>
                  </a:lnTo>
                  <a:lnTo>
                    <a:pt x="339" y="754"/>
                  </a:lnTo>
                  <a:lnTo>
                    <a:pt x="335" y="858"/>
                  </a:lnTo>
                  <a:lnTo>
                    <a:pt x="331" y="960"/>
                  </a:lnTo>
                  <a:lnTo>
                    <a:pt x="328" y="1057"/>
                  </a:lnTo>
                  <a:lnTo>
                    <a:pt x="328" y="1148"/>
                  </a:lnTo>
                  <a:lnTo>
                    <a:pt x="324" y="1172"/>
                  </a:lnTo>
                  <a:lnTo>
                    <a:pt x="316" y="1192"/>
                  </a:lnTo>
                  <a:lnTo>
                    <a:pt x="304" y="1209"/>
                  </a:lnTo>
                  <a:lnTo>
                    <a:pt x="287" y="1223"/>
                  </a:lnTo>
                  <a:lnTo>
                    <a:pt x="268" y="1235"/>
                  </a:lnTo>
                  <a:lnTo>
                    <a:pt x="248" y="1243"/>
                  </a:lnTo>
                  <a:lnTo>
                    <a:pt x="227" y="1250"/>
                  </a:lnTo>
                  <a:lnTo>
                    <a:pt x="205" y="1253"/>
                  </a:lnTo>
                  <a:lnTo>
                    <a:pt x="185" y="1255"/>
                  </a:lnTo>
                  <a:lnTo>
                    <a:pt x="160" y="1253"/>
                  </a:lnTo>
                  <a:lnTo>
                    <a:pt x="136" y="1250"/>
                  </a:lnTo>
                  <a:lnTo>
                    <a:pt x="113" y="1243"/>
                  </a:lnTo>
                  <a:lnTo>
                    <a:pt x="93" y="1235"/>
                  </a:lnTo>
                  <a:lnTo>
                    <a:pt x="76" y="1223"/>
                  </a:lnTo>
                  <a:lnTo>
                    <a:pt x="62" y="1209"/>
                  </a:lnTo>
                  <a:lnTo>
                    <a:pt x="50" y="1192"/>
                  </a:lnTo>
                  <a:lnTo>
                    <a:pt x="44" y="1172"/>
                  </a:lnTo>
                  <a:lnTo>
                    <a:pt x="42" y="1148"/>
                  </a:lnTo>
                  <a:lnTo>
                    <a:pt x="40" y="1057"/>
                  </a:lnTo>
                  <a:lnTo>
                    <a:pt x="38" y="960"/>
                  </a:lnTo>
                  <a:lnTo>
                    <a:pt x="34" y="858"/>
                  </a:lnTo>
                  <a:lnTo>
                    <a:pt x="29" y="754"/>
                  </a:lnTo>
                  <a:lnTo>
                    <a:pt x="24" y="648"/>
                  </a:lnTo>
                  <a:lnTo>
                    <a:pt x="19" y="542"/>
                  </a:lnTo>
                  <a:lnTo>
                    <a:pt x="14" y="438"/>
                  </a:lnTo>
                  <a:lnTo>
                    <a:pt x="10" y="336"/>
                  </a:lnTo>
                  <a:lnTo>
                    <a:pt x="8" y="239"/>
                  </a:lnTo>
                  <a:lnTo>
                    <a:pt x="8" y="149"/>
                  </a:lnTo>
                  <a:lnTo>
                    <a:pt x="10" y="118"/>
                  </a:lnTo>
                  <a:lnTo>
                    <a:pt x="18" y="92"/>
                  </a:lnTo>
                  <a:lnTo>
                    <a:pt x="31" y="68"/>
                  </a:lnTo>
                  <a:lnTo>
                    <a:pt x="48" y="48"/>
                  </a:lnTo>
                  <a:lnTo>
                    <a:pt x="69" y="30"/>
                  </a:lnTo>
                  <a:lnTo>
                    <a:pt x="94" y="18"/>
                  </a:lnTo>
                  <a:lnTo>
                    <a:pt x="122" y="8"/>
                  </a:lnTo>
                  <a:lnTo>
                    <a:pt x="152" y="1"/>
                  </a:lnTo>
                  <a:lnTo>
                    <a:pt x="1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>
                <a:defRPr/>
              </a:pPr>
              <a:endParaRPr lang="en-US" sz="1900" ker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02" name="Picture 10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898" y="3991069"/>
            <a:ext cx="603854" cy="603854"/>
          </a:xfrm>
          <a:prstGeom prst="rect">
            <a:avLst/>
          </a:prstGeom>
        </p:spPr>
      </p:pic>
      <p:grpSp>
        <p:nvGrpSpPr>
          <p:cNvPr id="103" name="Group 13"/>
          <p:cNvGrpSpPr>
            <a:grpSpLocks noChangeAspect="1"/>
          </p:cNvGrpSpPr>
          <p:nvPr/>
        </p:nvGrpSpPr>
        <p:grpSpPr bwMode="auto">
          <a:xfrm>
            <a:off x="2051550" y="3088663"/>
            <a:ext cx="606553" cy="431412"/>
            <a:chOff x="1785" y="1286"/>
            <a:chExt cx="1271" cy="904"/>
          </a:xfrm>
        </p:grpSpPr>
        <p:sp>
          <p:nvSpPr>
            <p:cNvPr id="104" name="Freeform 15"/>
            <p:cNvSpPr>
              <a:spLocks/>
            </p:cNvSpPr>
            <p:nvPr/>
          </p:nvSpPr>
          <p:spPr bwMode="auto">
            <a:xfrm>
              <a:off x="2258" y="1676"/>
              <a:ext cx="658" cy="514"/>
            </a:xfrm>
            <a:custGeom>
              <a:avLst/>
              <a:gdLst>
                <a:gd name="T0" fmla="*/ 1426 w 1975"/>
                <a:gd name="T1" fmla="*/ 0 h 1542"/>
                <a:gd name="T2" fmla="*/ 1542 w 1975"/>
                <a:gd name="T3" fmla="*/ 13 h 1542"/>
                <a:gd name="T4" fmla="*/ 1650 w 1975"/>
                <a:gd name="T5" fmla="*/ 49 h 1542"/>
                <a:gd name="T6" fmla="*/ 1747 w 1975"/>
                <a:gd name="T7" fmla="*/ 107 h 1542"/>
                <a:gd name="T8" fmla="*/ 1832 w 1975"/>
                <a:gd name="T9" fmla="*/ 183 h 1542"/>
                <a:gd name="T10" fmla="*/ 1899 w 1975"/>
                <a:gd name="T11" fmla="*/ 275 h 1542"/>
                <a:gd name="T12" fmla="*/ 1947 w 1975"/>
                <a:gd name="T13" fmla="*/ 382 h 1542"/>
                <a:gd name="T14" fmla="*/ 1972 w 1975"/>
                <a:gd name="T15" fmla="*/ 499 h 1542"/>
                <a:gd name="T16" fmla="*/ 1975 w 1975"/>
                <a:gd name="T17" fmla="*/ 950 h 1542"/>
                <a:gd name="T18" fmla="*/ 1962 w 1975"/>
                <a:gd name="T19" fmla="*/ 1072 h 1542"/>
                <a:gd name="T20" fmla="*/ 1927 w 1975"/>
                <a:gd name="T21" fmla="*/ 1189 h 1542"/>
                <a:gd name="T22" fmla="*/ 1870 w 1975"/>
                <a:gd name="T23" fmla="*/ 1294 h 1542"/>
                <a:gd name="T24" fmla="*/ 1793 w 1975"/>
                <a:gd name="T25" fmla="*/ 1384 h 1542"/>
                <a:gd name="T26" fmla="*/ 1703 w 1975"/>
                <a:gd name="T27" fmla="*/ 1458 h 1542"/>
                <a:gd name="T28" fmla="*/ 1599 w 1975"/>
                <a:gd name="T29" fmla="*/ 1511 h 1542"/>
                <a:gd name="T30" fmla="*/ 1485 w 1975"/>
                <a:gd name="T31" fmla="*/ 1538 h 1542"/>
                <a:gd name="T32" fmla="*/ 530 w 1975"/>
                <a:gd name="T33" fmla="*/ 1542 h 1542"/>
                <a:gd name="T34" fmla="*/ 416 w 1975"/>
                <a:gd name="T35" fmla="*/ 1528 h 1542"/>
                <a:gd name="T36" fmla="*/ 310 w 1975"/>
                <a:gd name="T37" fmla="*/ 1487 h 1542"/>
                <a:gd name="T38" fmla="*/ 216 w 1975"/>
                <a:gd name="T39" fmla="*/ 1425 h 1542"/>
                <a:gd name="T40" fmla="*/ 136 w 1975"/>
                <a:gd name="T41" fmla="*/ 1344 h 1542"/>
                <a:gd name="T42" fmla="*/ 72 w 1975"/>
                <a:gd name="T43" fmla="*/ 1246 h 1542"/>
                <a:gd name="T44" fmla="*/ 27 w 1975"/>
                <a:gd name="T45" fmla="*/ 1135 h 1542"/>
                <a:gd name="T46" fmla="*/ 3 w 1975"/>
                <a:gd name="T47" fmla="*/ 1013 h 1542"/>
                <a:gd name="T48" fmla="*/ 0 w 1975"/>
                <a:gd name="T49" fmla="*/ 561 h 1542"/>
                <a:gd name="T50" fmla="*/ 12 w 1975"/>
                <a:gd name="T51" fmla="*/ 440 h 1542"/>
                <a:gd name="T52" fmla="*/ 47 w 1975"/>
                <a:gd name="T53" fmla="*/ 327 h 1542"/>
                <a:gd name="T54" fmla="*/ 101 w 1975"/>
                <a:gd name="T55" fmla="*/ 227 h 1542"/>
                <a:gd name="T56" fmla="*/ 174 w 1975"/>
                <a:gd name="T57" fmla="*/ 142 h 1542"/>
                <a:gd name="T58" fmla="*/ 262 w 1975"/>
                <a:gd name="T59" fmla="*/ 75 h 1542"/>
                <a:gd name="T60" fmla="*/ 361 w 1975"/>
                <a:gd name="T61" fmla="*/ 28 h 1542"/>
                <a:gd name="T62" fmla="*/ 473 w 1975"/>
                <a:gd name="T63" fmla="*/ 2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75" h="1542">
                  <a:moveTo>
                    <a:pt x="530" y="0"/>
                  </a:moveTo>
                  <a:lnTo>
                    <a:pt x="1426" y="0"/>
                  </a:lnTo>
                  <a:lnTo>
                    <a:pt x="1484" y="2"/>
                  </a:lnTo>
                  <a:lnTo>
                    <a:pt x="1542" y="13"/>
                  </a:lnTo>
                  <a:lnTo>
                    <a:pt x="1597" y="28"/>
                  </a:lnTo>
                  <a:lnTo>
                    <a:pt x="1650" y="49"/>
                  </a:lnTo>
                  <a:lnTo>
                    <a:pt x="1701" y="75"/>
                  </a:lnTo>
                  <a:lnTo>
                    <a:pt x="1747" y="107"/>
                  </a:lnTo>
                  <a:lnTo>
                    <a:pt x="1791" y="142"/>
                  </a:lnTo>
                  <a:lnTo>
                    <a:pt x="1832" y="183"/>
                  </a:lnTo>
                  <a:lnTo>
                    <a:pt x="1867" y="227"/>
                  </a:lnTo>
                  <a:lnTo>
                    <a:pt x="1899" y="275"/>
                  </a:lnTo>
                  <a:lnTo>
                    <a:pt x="1925" y="327"/>
                  </a:lnTo>
                  <a:lnTo>
                    <a:pt x="1947" y="382"/>
                  </a:lnTo>
                  <a:lnTo>
                    <a:pt x="1962" y="440"/>
                  </a:lnTo>
                  <a:lnTo>
                    <a:pt x="1972" y="499"/>
                  </a:lnTo>
                  <a:lnTo>
                    <a:pt x="1975" y="561"/>
                  </a:lnTo>
                  <a:lnTo>
                    <a:pt x="1975" y="950"/>
                  </a:lnTo>
                  <a:lnTo>
                    <a:pt x="1973" y="1012"/>
                  </a:lnTo>
                  <a:lnTo>
                    <a:pt x="1962" y="1072"/>
                  </a:lnTo>
                  <a:lnTo>
                    <a:pt x="1947" y="1132"/>
                  </a:lnTo>
                  <a:lnTo>
                    <a:pt x="1927" y="1189"/>
                  </a:lnTo>
                  <a:lnTo>
                    <a:pt x="1900" y="1242"/>
                  </a:lnTo>
                  <a:lnTo>
                    <a:pt x="1870" y="1294"/>
                  </a:lnTo>
                  <a:lnTo>
                    <a:pt x="1834" y="1342"/>
                  </a:lnTo>
                  <a:lnTo>
                    <a:pt x="1793" y="1384"/>
                  </a:lnTo>
                  <a:lnTo>
                    <a:pt x="1751" y="1424"/>
                  </a:lnTo>
                  <a:lnTo>
                    <a:pt x="1703" y="1458"/>
                  </a:lnTo>
                  <a:lnTo>
                    <a:pt x="1652" y="1487"/>
                  </a:lnTo>
                  <a:lnTo>
                    <a:pt x="1599" y="1511"/>
                  </a:lnTo>
                  <a:lnTo>
                    <a:pt x="1543" y="1528"/>
                  </a:lnTo>
                  <a:lnTo>
                    <a:pt x="1485" y="1538"/>
                  </a:lnTo>
                  <a:lnTo>
                    <a:pt x="1426" y="1542"/>
                  </a:lnTo>
                  <a:lnTo>
                    <a:pt x="530" y="1542"/>
                  </a:lnTo>
                  <a:lnTo>
                    <a:pt x="473" y="1538"/>
                  </a:lnTo>
                  <a:lnTo>
                    <a:pt x="416" y="1528"/>
                  </a:lnTo>
                  <a:lnTo>
                    <a:pt x="361" y="1511"/>
                  </a:lnTo>
                  <a:lnTo>
                    <a:pt x="310" y="1487"/>
                  </a:lnTo>
                  <a:lnTo>
                    <a:pt x="262" y="1460"/>
                  </a:lnTo>
                  <a:lnTo>
                    <a:pt x="216" y="1425"/>
                  </a:lnTo>
                  <a:lnTo>
                    <a:pt x="174" y="1387"/>
                  </a:lnTo>
                  <a:lnTo>
                    <a:pt x="136" y="1344"/>
                  </a:lnTo>
                  <a:lnTo>
                    <a:pt x="101" y="1297"/>
                  </a:lnTo>
                  <a:lnTo>
                    <a:pt x="72" y="1246"/>
                  </a:lnTo>
                  <a:lnTo>
                    <a:pt x="47" y="1191"/>
                  </a:lnTo>
                  <a:lnTo>
                    <a:pt x="27" y="1135"/>
                  </a:lnTo>
                  <a:lnTo>
                    <a:pt x="12" y="1075"/>
                  </a:lnTo>
                  <a:lnTo>
                    <a:pt x="3" y="1013"/>
                  </a:lnTo>
                  <a:lnTo>
                    <a:pt x="0" y="950"/>
                  </a:lnTo>
                  <a:lnTo>
                    <a:pt x="0" y="561"/>
                  </a:lnTo>
                  <a:lnTo>
                    <a:pt x="3" y="499"/>
                  </a:lnTo>
                  <a:lnTo>
                    <a:pt x="12" y="440"/>
                  </a:lnTo>
                  <a:lnTo>
                    <a:pt x="27" y="382"/>
                  </a:lnTo>
                  <a:lnTo>
                    <a:pt x="47" y="327"/>
                  </a:lnTo>
                  <a:lnTo>
                    <a:pt x="72" y="275"/>
                  </a:lnTo>
                  <a:lnTo>
                    <a:pt x="101" y="227"/>
                  </a:lnTo>
                  <a:lnTo>
                    <a:pt x="136" y="183"/>
                  </a:lnTo>
                  <a:lnTo>
                    <a:pt x="174" y="142"/>
                  </a:lnTo>
                  <a:lnTo>
                    <a:pt x="216" y="107"/>
                  </a:lnTo>
                  <a:lnTo>
                    <a:pt x="262" y="75"/>
                  </a:lnTo>
                  <a:lnTo>
                    <a:pt x="310" y="49"/>
                  </a:lnTo>
                  <a:lnTo>
                    <a:pt x="361" y="28"/>
                  </a:lnTo>
                  <a:lnTo>
                    <a:pt x="416" y="13"/>
                  </a:lnTo>
                  <a:lnTo>
                    <a:pt x="473" y="2"/>
                  </a:lnTo>
                  <a:lnTo>
                    <a:pt x="530" y="0"/>
                  </a:lnTo>
                  <a:close/>
                </a:path>
              </a:pathLst>
            </a:custGeom>
            <a:solidFill>
              <a:srgbClr val="F9BDA0"/>
            </a:solidFill>
            <a:ln w="0">
              <a:solidFill>
                <a:srgbClr val="F9BD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5" name="Freeform 16"/>
            <p:cNvSpPr>
              <a:spLocks/>
            </p:cNvSpPr>
            <p:nvPr/>
          </p:nvSpPr>
          <p:spPr bwMode="auto">
            <a:xfrm>
              <a:off x="2377" y="2046"/>
              <a:ext cx="613" cy="144"/>
            </a:xfrm>
            <a:custGeom>
              <a:avLst/>
              <a:gdLst>
                <a:gd name="T0" fmla="*/ 204 w 1839"/>
                <a:gd name="T1" fmla="*/ 0 h 433"/>
                <a:gd name="T2" fmla="*/ 1636 w 1839"/>
                <a:gd name="T3" fmla="*/ 0 h 433"/>
                <a:gd name="T4" fmla="*/ 1673 w 1839"/>
                <a:gd name="T5" fmla="*/ 5 h 433"/>
                <a:gd name="T6" fmla="*/ 1706 w 1839"/>
                <a:gd name="T7" fmla="*/ 15 h 433"/>
                <a:gd name="T8" fmla="*/ 1739 w 1839"/>
                <a:gd name="T9" fmla="*/ 33 h 433"/>
                <a:gd name="T10" fmla="*/ 1766 w 1839"/>
                <a:gd name="T11" fmla="*/ 55 h 433"/>
                <a:gd name="T12" fmla="*/ 1792 w 1839"/>
                <a:gd name="T13" fmla="*/ 81 h 433"/>
                <a:gd name="T14" fmla="*/ 1812 w 1839"/>
                <a:gd name="T15" fmla="*/ 111 h 433"/>
                <a:gd name="T16" fmla="*/ 1827 w 1839"/>
                <a:gd name="T17" fmla="*/ 145 h 433"/>
                <a:gd name="T18" fmla="*/ 1836 w 1839"/>
                <a:gd name="T19" fmla="*/ 179 h 433"/>
                <a:gd name="T20" fmla="*/ 1839 w 1839"/>
                <a:gd name="T21" fmla="*/ 216 h 433"/>
                <a:gd name="T22" fmla="*/ 1836 w 1839"/>
                <a:gd name="T23" fmla="*/ 253 h 433"/>
                <a:gd name="T24" fmla="*/ 1827 w 1839"/>
                <a:gd name="T25" fmla="*/ 288 h 433"/>
                <a:gd name="T26" fmla="*/ 1812 w 1839"/>
                <a:gd name="T27" fmla="*/ 322 h 433"/>
                <a:gd name="T28" fmla="*/ 1792 w 1839"/>
                <a:gd name="T29" fmla="*/ 353 h 433"/>
                <a:gd name="T30" fmla="*/ 1766 w 1839"/>
                <a:gd name="T31" fmla="*/ 380 h 433"/>
                <a:gd name="T32" fmla="*/ 1739 w 1839"/>
                <a:gd name="T33" fmla="*/ 402 h 433"/>
                <a:gd name="T34" fmla="*/ 1706 w 1839"/>
                <a:gd name="T35" fmla="*/ 418 h 433"/>
                <a:gd name="T36" fmla="*/ 1673 w 1839"/>
                <a:gd name="T37" fmla="*/ 429 h 433"/>
                <a:gd name="T38" fmla="*/ 1636 w 1839"/>
                <a:gd name="T39" fmla="*/ 433 h 433"/>
                <a:gd name="T40" fmla="*/ 204 w 1839"/>
                <a:gd name="T41" fmla="*/ 433 h 433"/>
                <a:gd name="T42" fmla="*/ 168 w 1839"/>
                <a:gd name="T43" fmla="*/ 429 h 433"/>
                <a:gd name="T44" fmla="*/ 133 w 1839"/>
                <a:gd name="T45" fmla="*/ 418 h 433"/>
                <a:gd name="T46" fmla="*/ 102 w 1839"/>
                <a:gd name="T47" fmla="*/ 402 h 433"/>
                <a:gd name="T48" fmla="*/ 73 w 1839"/>
                <a:gd name="T49" fmla="*/ 380 h 433"/>
                <a:gd name="T50" fmla="*/ 49 w 1839"/>
                <a:gd name="T51" fmla="*/ 353 h 433"/>
                <a:gd name="T52" fmla="*/ 28 w 1839"/>
                <a:gd name="T53" fmla="*/ 322 h 433"/>
                <a:gd name="T54" fmla="*/ 13 w 1839"/>
                <a:gd name="T55" fmla="*/ 288 h 433"/>
                <a:gd name="T56" fmla="*/ 3 w 1839"/>
                <a:gd name="T57" fmla="*/ 253 h 433"/>
                <a:gd name="T58" fmla="*/ 0 w 1839"/>
                <a:gd name="T59" fmla="*/ 216 h 433"/>
                <a:gd name="T60" fmla="*/ 3 w 1839"/>
                <a:gd name="T61" fmla="*/ 179 h 433"/>
                <a:gd name="T62" fmla="*/ 13 w 1839"/>
                <a:gd name="T63" fmla="*/ 145 h 433"/>
                <a:gd name="T64" fmla="*/ 28 w 1839"/>
                <a:gd name="T65" fmla="*/ 111 h 433"/>
                <a:gd name="T66" fmla="*/ 49 w 1839"/>
                <a:gd name="T67" fmla="*/ 81 h 433"/>
                <a:gd name="T68" fmla="*/ 73 w 1839"/>
                <a:gd name="T69" fmla="*/ 55 h 433"/>
                <a:gd name="T70" fmla="*/ 102 w 1839"/>
                <a:gd name="T71" fmla="*/ 33 h 433"/>
                <a:gd name="T72" fmla="*/ 133 w 1839"/>
                <a:gd name="T73" fmla="*/ 15 h 433"/>
                <a:gd name="T74" fmla="*/ 168 w 1839"/>
                <a:gd name="T75" fmla="*/ 5 h 433"/>
                <a:gd name="T76" fmla="*/ 204 w 1839"/>
                <a:gd name="T77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39" h="433">
                  <a:moveTo>
                    <a:pt x="204" y="0"/>
                  </a:moveTo>
                  <a:lnTo>
                    <a:pt x="1636" y="0"/>
                  </a:lnTo>
                  <a:lnTo>
                    <a:pt x="1673" y="5"/>
                  </a:lnTo>
                  <a:lnTo>
                    <a:pt x="1706" y="15"/>
                  </a:lnTo>
                  <a:lnTo>
                    <a:pt x="1739" y="33"/>
                  </a:lnTo>
                  <a:lnTo>
                    <a:pt x="1766" y="55"/>
                  </a:lnTo>
                  <a:lnTo>
                    <a:pt x="1792" y="81"/>
                  </a:lnTo>
                  <a:lnTo>
                    <a:pt x="1812" y="111"/>
                  </a:lnTo>
                  <a:lnTo>
                    <a:pt x="1827" y="145"/>
                  </a:lnTo>
                  <a:lnTo>
                    <a:pt x="1836" y="179"/>
                  </a:lnTo>
                  <a:lnTo>
                    <a:pt x="1839" y="216"/>
                  </a:lnTo>
                  <a:lnTo>
                    <a:pt x="1836" y="253"/>
                  </a:lnTo>
                  <a:lnTo>
                    <a:pt x="1827" y="288"/>
                  </a:lnTo>
                  <a:lnTo>
                    <a:pt x="1812" y="322"/>
                  </a:lnTo>
                  <a:lnTo>
                    <a:pt x="1792" y="353"/>
                  </a:lnTo>
                  <a:lnTo>
                    <a:pt x="1766" y="380"/>
                  </a:lnTo>
                  <a:lnTo>
                    <a:pt x="1739" y="402"/>
                  </a:lnTo>
                  <a:lnTo>
                    <a:pt x="1706" y="418"/>
                  </a:lnTo>
                  <a:lnTo>
                    <a:pt x="1673" y="429"/>
                  </a:lnTo>
                  <a:lnTo>
                    <a:pt x="1636" y="433"/>
                  </a:lnTo>
                  <a:lnTo>
                    <a:pt x="204" y="433"/>
                  </a:lnTo>
                  <a:lnTo>
                    <a:pt x="168" y="429"/>
                  </a:lnTo>
                  <a:lnTo>
                    <a:pt x="133" y="418"/>
                  </a:lnTo>
                  <a:lnTo>
                    <a:pt x="102" y="402"/>
                  </a:lnTo>
                  <a:lnTo>
                    <a:pt x="73" y="380"/>
                  </a:lnTo>
                  <a:lnTo>
                    <a:pt x="49" y="353"/>
                  </a:lnTo>
                  <a:lnTo>
                    <a:pt x="28" y="322"/>
                  </a:lnTo>
                  <a:lnTo>
                    <a:pt x="13" y="288"/>
                  </a:lnTo>
                  <a:lnTo>
                    <a:pt x="3" y="253"/>
                  </a:lnTo>
                  <a:lnTo>
                    <a:pt x="0" y="216"/>
                  </a:lnTo>
                  <a:lnTo>
                    <a:pt x="3" y="179"/>
                  </a:lnTo>
                  <a:lnTo>
                    <a:pt x="13" y="145"/>
                  </a:lnTo>
                  <a:lnTo>
                    <a:pt x="28" y="111"/>
                  </a:lnTo>
                  <a:lnTo>
                    <a:pt x="49" y="81"/>
                  </a:lnTo>
                  <a:lnTo>
                    <a:pt x="73" y="55"/>
                  </a:lnTo>
                  <a:lnTo>
                    <a:pt x="102" y="33"/>
                  </a:lnTo>
                  <a:lnTo>
                    <a:pt x="133" y="15"/>
                  </a:lnTo>
                  <a:lnTo>
                    <a:pt x="168" y="5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rgbClr val="F9BDA0"/>
            </a:solidFill>
            <a:ln w="0">
              <a:solidFill>
                <a:srgbClr val="F9BD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Freeform 17"/>
            <p:cNvSpPr>
              <a:spLocks/>
            </p:cNvSpPr>
            <p:nvPr/>
          </p:nvSpPr>
          <p:spPr bwMode="auto">
            <a:xfrm>
              <a:off x="2369" y="1799"/>
              <a:ext cx="687" cy="144"/>
            </a:xfrm>
            <a:custGeom>
              <a:avLst/>
              <a:gdLst>
                <a:gd name="T0" fmla="*/ 203 w 2061"/>
                <a:gd name="T1" fmla="*/ 0 h 433"/>
                <a:gd name="T2" fmla="*/ 1858 w 2061"/>
                <a:gd name="T3" fmla="*/ 0 h 433"/>
                <a:gd name="T4" fmla="*/ 1894 w 2061"/>
                <a:gd name="T5" fmla="*/ 5 h 433"/>
                <a:gd name="T6" fmla="*/ 1928 w 2061"/>
                <a:gd name="T7" fmla="*/ 15 h 433"/>
                <a:gd name="T8" fmla="*/ 1959 w 2061"/>
                <a:gd name="T9" fmla="*/ 32 h 433"/>
                <a:gd name="T10" fmla="*/ 1988 w 2061"/>
                <a:gd name="T11" fmla="*/ 54 h 433"/>
                <a:gd name="T12" fmla="*/ 2013 w 2061"/>
                <a:gd name="T13" fmla="*/ 81 h 433"/>
                <a:gd name="T14" fmla="*/ 2034 w 2061"/>
                <a:gd name="T15" fmla="*/ 111 h 433"/>
                <a:gd name="T16" fmla="*/ 2049 w 2061"/>
                <a:gd name="T17" fmla="*/ 145 h 433"/>
                <a:gd name="T18" fmla="*/ 2058 w 2061"/>
                <a:gd name="T19" fmla="*/ 179 h 433"/>
                <a:gd name="T20" fmla="*/ 2061 w 2061"/>
                <a:gd name="T21" fmla="*/ 216 h 433"/>
                <a:gd name="T22" fmla="*/ 2058 w 2061"/>
                <a:gd name="T23" fmla="*/ 253 h 433"/>
                <a:gd name="T24" fmla="*/ 2049 w 2061"/>
                <a:gd name="T25" fmla="*/ 288 h 433"/>
                <a:gd name="T26" fmla="*/ 2034 w 2061"/>
                <a:gd name="T27" fmla="*/ 322 h 433"/>
                <a:gd name="T28" fmla="*/ 2013 w 2061"/>
                <a:gd name="T29" fmla="*/ 353 h 433"/>
                <a:gd name="T30" fmla="*/ 1988 w 2061"/>
                <a:gd name="T31" fmla="*/ 379 h 433"/>
                <a:gd name="T32" fmla="*/ 1959 w 2061"/>
                <a:gd name="T33" fmla="*/ 401 h 433"/>
                <a:gd name="T34" fmla="*/ 1928 w 2061"/>
                <a:gd name="T35" fmla="*/ 418 h 433"/>
                <a:gd name="T36" fmla="*/ 1894 w 2061"/>
                <a:gd name="T37" fmla="*/ 429 h 433"/>
                <a:gd name="T38" fmla="*/ 1858 w 2061"/>
                <a:gd name="T39" fmla="*/ 433 h 433"/>
                <a:gd name="T40" fmla="*/ 203 w 2061"/>
                <a:gd name="T41" fmla="*/ 433 h 433"/>
                <a:gd name="T42" fmla="*/ 166 w 2061"/>
                <a:gd name="T43" fmla="*/ 429 h 433"/>
                <a:gd name="T44" fmla="*/ 133 w 2061"/>
                <a:gd name="T45" fmla="*/ 418 h 433"/>
                <a:gd name="T46" fmla="*/ 100 w 2061"/>
                <a:gd name="T47" fmla="*/ 401 h 433"/>
                <a:gd name="T48" fmla="*/ 73 w 2061"/>
                <a:gd name="T49" fmla="*/ 379 h 433"/>
                <a:gd name="T50" fmla="*/ 47 w 2061"/>
                <a:gd name="T51" fmla="*/ 353 h 433"/>
                <a:gd name="T52" fmla="*/ 27 w 2061"/>
                <a:gd name="T53" fmla="*/ 322 h 433"/>
                <a:gd name="T54" fmla="*/ 12 w 2061"/>
                <a:gd name="T55" fmla="*/ 288 h 433"/>
                <a:gd name="T56" fmla="*/ 3 w 2061"/>
                <a:gd name="T57" fmla="*/ 253 h 433"/>
                <a:gd name="T58" fmla="*/ 0 w 2061"/>
                <a:gd name="T59" fmla="*/ 216 h 433"/>
                <a:gd name="T60" fmla="*/ 3 w 2061"/>
                <a:gd name="T61" fmla="*/ 179 h 433"/>
                <a:gd name="T62" fmla="*/ 12 w 2061"/>
                <a:gd name="T63" fmla="*/ 145 h 433"/>
                <a:gd name="T64" fmla="*/ 27 w 2061"/>
                <a:gd name="T65" fmla="*/ 111 h 433"/>
                <a:gd name="T66" fmla="*/ 47 w 2061"/>
                <a:gd name="T67" fmla="*/ 81 h 433"/>
                <a:gd name="T68" fmla="*/ 73 w 2061"/>
                <a:gd name="T69" fmla="*/ 54 h 433"/>
                <a:gd name="T70" fmla="*/ 100 w 2061"/>
                <a:gd name="T71" fmla="*/ 32 h 433"/>
                <a:gd name="T72" fmla="*/ 133 w 2061"/>
                <a:gd name="T73" fmla="*/ 15 h 433"/>
                <a:gd name="T74" fmla="*/ 166 w 2061"/>
                <a:gd name="T75" fmla="*/ 5 h 433"/>
                <a:gd name="T76" fmla="*/ 203 w 2061"/>
                <a:gd name="T77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61" h="433">
                  <a:moveTo>
                    <a:pt x="203" y="0"/>
                  </a:moveTo>
                  <a:lnTo>
                    <a:pt x="1858" y="0"/>
                  </a:lnTo>
                  <a:lnTo>
                    <a:pt x="1894" y="5"/>
                  </a:lnTo>
                  <a:lnTo>
                    <a:pt x="1928" y="15"/>
                  </a:lnTo>
                  <a:lnTo>
                    <a:pt x="1959" y="32"/>
                  </a:lnTo>
                  <a:lnTo>
                    <a:pt x="1988" y="54"/>
                  </a:lnTo>
                  <a:lnTo>
                    <a:pt x="2013" y="81"/>
                  </a:lnTo>
                  <a:lnTo>
                    <a:pt x="2034" y="111"/>
                  </a:lnTo>
                  <a:lnTo>
                    <a:pt x="2049" y="145"/>
                  </a:lnTo>
                  <a:lnTo>
                    <a:pt x="2058" y="179"/>
                  </a:lnTo>
                  <a:lnTo>
                    <a:pt x="2061" y="216"/>
                  </a:lnTo>
                  <a:lnTo>
                    <a:pt x="2058" y="253"/>
                  </a:lnTo>
                  <a:lnTo>
                    <a:pt x="2049" y="288"/>
                  </a:lnTo>
                  <a:lnTo>
                    <a:pt x="2034" y="322"/>
                  </a:lnTo>
                  <a:lnTo>
                    <a:pt x="2013" y="353"/>
                  </a:lnTo>
                  <a:lnTo>
                    <a:pt x="1988" y="379"/>
                  </a:lnTo>
                  <a:lnTo>
                    <a:pt x="1959" y="401"/>
                  </a:lnTo>
                  <a:lnTo>
                    <a:pt x="1928" y="418"/>
                  </a:lnTo>
                  <a:lnTo>
                    <a:pt x="1894" y="429"/>
                  </a:lnTo>
                  <a:lnTo>
                    <a:pt x="1858" y="433"/>
                  </a:lnTo>
                  <a:lnTo>
                    <a:pt x="203" y="433"/>
                  </a:lnTo>
                  <a:lnTo>
                    <a:pt x="166" y="429"/>
                  </a:lnTo>
                  <a:lnTo>
                    <a:pt x="133" y="418"/>
                  </a:lnTo>
                  <a:lnTo>
                    <a:pt x="100" y="401"/>
                  </a:lnTo>
                  <a:lnTo>
                    <a:pt x="73" y="379"/>
                  </a:lnTo>
                  <a:lnTo>
                    <a:pt x="47" y="353"/>
                  </a:lnTo>
                  <a:lnTo>
                    <a:pt x="27" y="322"/>
                  </a:lnTo>
                  <a:lnTo>
                    <a:pt x="12" y="288"/>
                  </a:lnTo>
                  <a:lnTo>
                    <a:pt x="3" y="253"/>
                  </a:lnTo>
                  <a:lnTo>
                    <a:pt x="0" y="216"/>
                  </a:lnTo>
                  <a:lnTo>
                    <a:pt x="3" y="179"/>
                  </a:lnTo>
                  <a:lnTo>
                    <a:pt x="12" y="145"/>
                  </a:lnTo>
                  <a:lnTo>
                    <a:pt x="27" y="111"/>
                  </a:lnTo>
                  <a:lnTo>
                    <a:pt x="47" y="81"/>
                  </a:lnTo>
                  <a:lnTo>
                    <a:pt x="73" y="54"/>
                  </a:lnTo>
                  <a:lnTo>
                    <a:pt x="100" y="32"/>
                  </a:lnTo>
                  <a:lnTo>
                    <a:pt x="133" y="15"/>
                  </a:lnTo>
                  <a:lnTo>
                    <a:pt x="166" y="5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F9BDA0"/>
            </a:solidFill>
            <a:ln w="0">
              <a:solidFill>
                <a:srgbClr val="F9BD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7" name="Freeform 18"/>
            <p:cNvSpPr>
              <a:spLocks/>
            </p:cNvSpPr>
            <p:nvPr/>
          </p:nvSpPr>
          <p:spPr bwMode="auto">
            <a:xfrm>
              <a:off x="2355" y="1923"/>
              <a:ext cx="687" cy="144"/>
            </a:xfrm>
            <a:custGeom>
              <a:avLst/>
              <a:gdLst>
                <a:gd name="T0" fmla="*/ 203 w 2063"/>
                <a:gd name="T1" fmla="*/ 0 h 432"/>
                <a:gd name="T2" fmla="*/ 1859 w 2063"/>
                <a:gd name="T3" fmla="*/ 0 h 432"/>
                <a:gd name="T4" fmla="*/ 1895 w 2063"/>
                <a:gd name="T5" fmla="*/ 4 h 432"/>
                <a:gd name="T6" fmla="*/ 1929 w 2063"/>
                <a:gd name="T7" fmla="*/ 14 h 432"/>
                <a:gd name="T8" fmla="*/ 1961 w 2063"/>
                <a:gd name="T9" fmla="*/ 32 h 432"/>
                <a:gd name="T10" fmla="*/ 1990 w 2063"/>
                <a:gd name="T11" fmla="*/ 54 h 432"/>
                <a:gd name="T12" fmla="*/ 2014 w 2063"/>
                <a:gd name="T13" fmla="*/ 80 h 432"/>
                <a:gd name="T14" fmla="*/ 2034 w 2063"/>
                <a:gd name="T15" fmla="*/ 110 h 432"/>
                <a:gd name="T16" fmla="*/ 2050 w 2063"/>
                <a:gd name="T17" fmla="*/ 144 h 432"/>
                <a:gd name="T18" fmla="*/ 2059 w 2063"/>
                <a:gd name="T19" fmla="*/ 178 h 432"/>
                <a:gd name="T20" fmla="*/ 2063 w 2063"/>
                <a:gd name="T21" fmla="*/ 215 h 432"/>
                <a:gd name="T22" fmla="*/ 2059 w 2063"/>
                <a:gd name="T23" fmla="*/ 252 h 432"/>
                <a:gd name="T24" fmla="*/ 2050 w 2063"/>
                <a:gd name="T25" fmla="*/ 287 h 432"/>
                <a:gd name="T26" fmla="*/ 2034 w 2063"/>
                <a:gd name="T27" fmla="*/ 321 h 432"/>
                <a:gd name="T28" fmla="*/ 2014 w 2063"/>
                <a:gd name="T29" fmla="*/ 352 h 432"/>
                <a:gd name="T30" fmla="*/ 1990 w 2063"/>
                <a:gd name="T31" fmla="*/ 378 h 432"/>
                <a:gd name="T32" fmla="*/ 1961 w 2063"/>
                <a:gd name="T33" fmla="*/ 400 h 432"/>
                <a:gd name="T34" fmla="*/ 1929 w 2063"/>
                <a:gd name="T35" fmla="*/ 417 h 432"/>
                <a:gd name="T36" fmla="*/ 1895 w 2063"/>
                <a:gd name="T37" fmla="*/ 428 h 432"/>
                <a:gd name="T38" fmla="*/ 1859 w 2063"/>
                <a:gd name="T39" fmla="*/ 432 h 432"/>
                <a:gd name="T40" fmla="*/ 203 w 2063"/>
                <a:gd name="T41" fmla="*/ 432 h 432"/>
                <a:gd name="T42" fmla="*/ 168 w 2063"/>
                <a:gd name="T43" fmla="*/ 428 h 432"/>
                <a:gd name="T44" fmla="*/ 133 w 2063"/>
                <a:gd name="T45" fmla="*/ 417 h 432"/>
                <a:gd name="T46" fmla="*/ 102 w 2063"/>
                <a:gd name="T47" fmla="*/ 400 h 432"/>
                <a:gd name="T48" fmla="*/ 73 w 2063"/>
                <a:gd name="T49" fmla="*/ 378 h 432"/>
                <a:gd name="T50" fmla="*/ 48 w 2063"/>
                <a:gd name="T51" fmla="*/ 352 h 432"/>
                <a:gd name="T52" fmla="*/ 29 w 2063"/>
                <a:gd name="T53" fmla="*/ 321 h 432"/>
                <a:gd name="T54" fmla="*/ 12 w 2063"/>
                <a:gd name="T55" fmla="*/ 287 h 432"/>
                <a:gd name="T56" fmla="*/ 3 w 2063"/>
                <a:gd name="T57" fmla="*/ 252 h 432"/>
                <a:gd name="T58" fmla="*/ 0 w 2063"/>
                <a:gd name="T59" fmla="*/ 215 h 432"/>
                <a:gd name="T60" fmla="*/ 3 w 2063"/>
                <a:gd name="T61" fmla="*/ 178 h 432"/>
                <a:gd name="T62" fmla="*/ 12 w 2063"/>
                <a:gd name="T63" fmla="*/ 144 h 432"/>
                <a:gd name="T64" fmla="*/ 29 w 2063"/>
                <a:gd name="T65" fmla="*/ 110 h 432"/>
                <a:gd name="T66" fmla="*/ 48 w 2063"/>
                <a:gd name="T67" fmla="*/ 80 h 432"/>
                <a:gd name="T68" fmla="*/ 73 w 2063"/>
                <a:gd name="T69" fmla="*/ 54 h 432"/>
                <a:gd name="T70" fmla="*/ 102 w 2063"/>
                <a:gd name="T71" fmla="*/ 32 h 432"/>
                <a:gd name="T72" fmla="*/ 133 w 2063"/>
                <a:gd name="T73" fmla="*/ 14 h 432"/>
                <a:gd name="T74" fmla="*/ 168 w 2063"/>
                <a:gd name="T75" fmla="*/ 4 h 432"/>
                <a:gd name="T76" fmla="*/ 203 w 2063"/>
                <a:gd name="T77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63" h="432">
                  <a:moveTo>
                    <a:pt x="203" y="0"/>
                  </a:moveTo>
                  <a:lnTo>
                    <a:pt x="1859" y="0"/>
                  </a:lnTo>
                  <a:lnTo>
                    <a:pt x="1895" y="4"/>
                  </a:lnTo>
                  <a:lnTo>
                    <a:pt x="1929" y="14"/>
                  </a:lnTo>
                  <a:lnTo>
                    <a:pt x="1961" y="32"/>
                  </a:lnTo>
                  <a:lnTo>
                    <a:pt x="1990" y="54"/>
                  </a:lnTo>
                  <a:lnTo>
                    <a:pt x="2014" y="80"/>
                  </a:lnTo>
                  <a:lnTo>
                    <a:pt x="2034" y="110"/>
                  </a:lnTo>
                  <a:lnTo>
                    <a:pt x="2050" y="144"/>
                  </a:lnTo>
                  <a:lnTo>
                    <a:pt x="2059" y="178"/>
                  </a:lnTo>
                  <a:lnTo>
                    <a:pt x="2063" y="215"/>
                  </a:lnTo>
                  <a:lnTo>
                    <a:pt x="2059" y="252"/>
                  </a:lnTo>
                  <a:lnTo>
                    <a:pt x="2050" y="287"/>
                  </a:lnTo>
                  <a:lnTo>
                    <a:pt x="2034" y="321"/>
                  </a:lnTo>
                  <a:lnTo>
                    <a:pt x="2014" y="352"/>
                  </a:lnTo>
                  <a:lnTo>
                    <a:pt x="1990" y="378"/>
                  </a:lnTo>
                  <a:lnTo>
                    <a:pt x="1961" y="400"/>
                  </a:lnTo>
                  <a:lnTo>
                    <a:pt x="1929" y="417"/>
                  </a:lnTo>
                  <a:lnTo>
                    <a:pt x="1895" y="428"/>
                  </a:lnTo>
                  <a:lnTo>
                    <a:pt x="1859" y="432"/>
                  </a:lnTo>
                  <a:lnTo>
                    <a:pt x="203" y="432"/>
                  </a:lnTo>
                  <a:lnTo>
                    <a:pt x="168" y="428"/>
                  </a:lnTo>
                  <a:lnTo>
                    <a:pt x="133" y="417"/>
                  </a:lnTo>
                  <a:lnTo>
                    <a:pt x="102" y="400"/>
                  </a:lnTo>
                  <a:lnTo>
                    <a:pt x="73" y="378"/>
                  </a:lnTo>
                  <a:lnTo>
                    <a:pt x="48" y="352"/>
                  </a:lnTo>
                  <a:lnTo>
                    <a:pt x="29" y="321"/>
                  </a:lnTo>
                  <a:lnTo>
                    <a:pt x="12" y="287"/>
                  </a:lnTo>
                  <a:lnTo>
                    <a:pt x="3" y="252"/>
                  </a:lnTo>
                  <a:lnTo>
                    <a:pt x="0" y="215"/>
                  </a:lnTo>
                  <a:lnTo>
                    <a:pt x="3" y="178"/>
                  </a:lnTo>
                  <a:lnTo>
                    <a:pt x="12" y="144"/>
                  </a:lnTo>
                  <a:lnTo>
                    <a:pt x="29" y="110"/>
                  </a:lnTo>
                  <a:lnTo>
                    <a:pt x="48" y="80"/>
                  </a:lnTo>
                  <a:lnTo>
                    <a:pt x="73" y="54"/>
                  </a:lnTo>
                  <a:lnTo>
                    <a:pt x="102" y="32"/>
                  </a:lnTo>
                  <a:lnTo>
                    <a:pt x="133" y="14"/>
                  </a:lnTo>
                  <a:lnTo>
                    <a:pt x="168" y="4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F9BDA0"/>
            </a:solidFill>
            <a:ln w="0">
              <a:solidFill>
                <a:srgbClr val="F9BD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8" name="Freeform 19"/>
            <p:cNvSpPr>
              <a:spLocks/>
            </p:cNvSpPr>
            <p:nvPr/>
          </p:nvSpPr>
          <p:spPr bwMode="auto">
            <a:xfrm>
              <a:off x="2330" y="1676"/>
              <a:ext cx="687" cy="123"/>
            </a:xfrm>
            <a:custGeom>
              <a:avLst/>
              <a:gdLst>
                <a:gd name="T0" fmla="*/ 203 w 2062"/>
                <a:gd name="T1" fmla="*/ 0 h 369"/>
                <a:gd name="T2" fmla="*/ 1859 w 2062"/>
                <a:gd name="T3" fmla="*/ 0 h 369"/>
                <a:gd name="T4" fmla="*/ 1891 w 2062"/>
                <a:gd name="T5" fmla="*/ 1 h 369"/>
                <a:gd name="T6" fmla="*/ 1922 w 2062"/>
                <a:gd name="T7" fmla="*/ 8 h 369"/>
                <a:gd name="T8" fmla="*/ 1951 w 2062"/>
                <a:gd name="T9" fmla="*/ 19 h 369"/>
                <a:gd name="T10" fmla="*/ 1978 w 2062"/>
                <a:gd name="T11" fmla="*/ 33 h 369"/>
                <a:gd name="T12" fmla="*/ 2002 w 2062"/>
                <a:gd name="T13" fmla="*/ 51 h 369"/>
                <a:gd name="T14" fmla="*/ 2022 w 2062"/>
                <a:gd name="T15" fmla="*/ 72 h 369"/>
                <a:gd name="T16" fmla="*/ 2039 w 2062"/>
                <a:gd name="T17" fmla="*/ 96 h 369"/>
                <a:gd name="T18" fmla="*/ 2052 w 2062"/>
                <a:gd name="T19" fmla="*/ 123 h 369"/>
                <a:gd name="T20" fmla="*/ 2059 w 2062"/>
                <a:gd name="T21" fmla="*/ 153 h 369"/>
                <a:gd name="T22" fmla="*/ 2062 w 2062"/>
                <a:gd name="T23" fmla="*/ 184 h 369"/>
                <a:gd name="T24" fmla="*/ 2059 w 2062"/>
                <a:gd name="T25" fmla="*/ 216 h 369"/>
                <a:gd name="T26" fmla="*/ 2052 w 2062"/>
                <a:gd name="T27" fmla="*/ 246 h 369"/>
                <a:gd name="T28" fmla="*/ 2039 w 2062"/>
                <a:gd name="T29" fmla="*/ 273 h 369"/>
                <a:gd name="T30" fmla="*/ 2022 w 2062"/>
                <a:gd name="T31" fmla="*/ 297 h 369"/>
                <a:gd name="T32" fmla="*/ 2002 w 2062"/>
                <a:gd name="T33" fmla="*/ 318 h 369"/>
                <a:gd name="T34" fmla="*/ 1978 w 2062"/>
                <a:gd name="T35" fmla="*/ 337 h 369"/>
                <a:gd name="T36" fmla="*/ 1951 w 2062"/>
                <a:gd name="T37" fmla="*/ 351 h 369"/>
                <a:gd name="T38" fmla="*/ 1922 w 2062"/>
                <a:gd name="T39" fmla="*/ 361 h 369"/>
                <a:gd name="T40" fmla="*/ 1891 w 2062"/>
                <a:gd name="T41" fmla="*/ 368 h 369"/>
                <a:gd name="T42" fmla="*/ 1859 w 2062"/>
                <a:gd name="T43" fmla="*/ 369 h 369"/>
                <a:gd name="T44" fmla="*/ 203 w 2062"/>
                <a:gd name="T45" fmla="*/ 369 h 369"/>
                <a:gd name="T46" fmla="*/ 171 w 2062"/>
                <a:gd name="T47" fmla="*/ 368 h 369"/>
                <a:gd name="T48" fmla="*/ 140 w 2062"/>
                <a:gd name="T49" fmla="*/ 361 h 369"/>
                <a:gd name="T50" fmla="*/ 111 w 2062"/>
                <a:gd name="T51" fmla="*/ 351 h 369"/>
                <a:gd name="T52" fmla="*/ 84 w 2062"/>
                <a:gd name="T53" fmla="*/ 337 h 369"/>
                <a:gd name="T54" fmla="*/ 60 w 2062"/>
                <a:gd name="T55" fmla="*/ 318 h 369"/>
                <a:gd name="T56" fmla="*/ 40 w 2062"/>
                <a:gd name="T57" fmla="*/ 297 h 369"/>
                <a:gd name="T58" fmla="*/ 23 w 2062"/>
                <a:gd name="T59" fmla="*/ 273 h 369"/>
                <a:gd name="T60" fmla="*/ 10 w 2062"/>
                <a:gd name="T61" fmla="*/ 246 h 369"/>
                <a:gd name="T62" fmla="*/ 3 w 2062"/>
                <a:gd name="T63" fmla="*/ 216 h 369"/>
                <a:gd name="T64" fmla="*/ 0 w 2062"/>
                <a:gd name="T65" fmla="*/ 184 h 369"/>
                <a:gd name="T66" fmla="*/ 3 w 2062"/>
                <a:gd name="T67" fmla="*/ 153 h 369"/>
                <a:gd name="T68" fmla="*/ 10 w 2062"/>
                <a:gd name="T69" fmla="*/ 123 h 369"/>
                <a:gd name="T70" fmla="*/ 23 w 2062"/>
                <a:gd name="T71" fmla="*/ 96 h 369"/>
                <a:gd name="T72" fmla="*/ 40 w 2062"/>
                <a:gd name="T73" fmla="*/ 72 h 369"/>
                <a:gd name="T74" fmla="*/ 60 w 2062"/>
                <a:gd name="T75" fmla="*/ 51 h 369"/>
                <a:gd name="T76" fmla="*/ 84 w 2062"/>
                <a:gd name="T77" fmla="*/ 33 h 369"/>
                <a:gd name="T78" fmla="*/ 111 w 2062"/>
                <a:gd name="T79" fmla="*/ 19 h 369"/>
                <a:gd name="T80" fmla="*/ 140 w 2062"/>
                <a:gd name="T81" fmla="*/ 8 h 369"/>
                <a:gd name="T82" fmla="*/ 171 w 2062"/>
                <a:gd name="T83" fmla="*/ 1 h 369"/>
                <a:gd name="T84" fmla="*/ 203 w 2062"/>
                <a:gd name="T85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62" h="369">
                  <a:moveTo>
                    <a:pt x="203" y="0"/>
                  </a:moveTo>
                  <a:lnTo>
                    <a:pt x="1859" y="0"/>
                  </a:lnTo>
                  <a:lnTo>
                    <a:pt x="1891" y="1"/>
                  </a:lnTo>
                  <a:lnTo>
                    <a:pt x="1922" y="8"/>
                  </a:lnTo>
                  <a:lnTo>
                    <a:pt x="1951" y="19"/>
                  </a:lnTo>
                  <a:lnTo>
                    <a:pt x="1978" y="33"/>
                  </a:lnTo>
                  <a:lnTo>
                    <a:pt x="2002" y="51"/>
                  </a:lnTo>
                  <a:lnTo>
                    <a:pt x="2022" y="72"/>
                  </a:lnTo>
                  <a:lnTo>
                    <a:pt x="2039" y="96"/>
                  </a:lnTo>
                  <a:lnTo>
                    <a:pt x="2052" y="123"/>
                  </a:lnTo>
                  <a:lnTo>
                    <a:pt x="2059" y="153"/>
                  </a:lnTo>
                  <a:lnTo>
                    <a:pt x="2062" y="184"/>
                  </a:lnTo>
                  <a:lnTo>
                    <a:pt x="2059" y="216"/>
                  </a:lnTo>
                  <a:lnTo>
                    <a:pt x="2052" y="246"/>
                  </a:lnTo>
                  <a:lnTo>
                    <a:pt x="2039" y="273"/>
                  </a:lnTo>
                  <a:lnTo>
                    <a:pt x="2022" y="297"/>
                  </a:lnTo>
                  <a:lnTo>
                    <a:pt x="2002" y="318"/>
                  </a:lnTo>
                  <a:lnTo>
                    <a:pt x="1978" y="337"/>
                  </a:lnTo>
                  <a:lnTo>
                    <a:pt x="1951" y="351"/>
                  </a:lnTo>
                  <a:lnTo>
                    <a:pt x="1922" y="361"/>
                  </a:lnTo>
                  <a:lnTo>
                    <a:pt x="1891" y="368"/>
                  </a:lnTo>
                  <a:lnTo>
                    <a:pt x="1859" y="369"/>
                  </a:lnTo>
                  <a:lnTo>
                    <a:pt x="203" y="369"/>
                  </a:lnTo>
                  <a:lnTo>
                    <a:pt x="171" y="368"/>
                  </a:lnTo>
                  <a:lnTo>
                    <a:pt x="140" y="361"/>
                  </a:lnTo>
                  <a:lnTo>
                    <a:pt x="111" y="351"/>
                  </a:lnTo>
                  <a:lnTo>
                    <a:pt x="84" y="337"/>
                  </a:lnTo>
                  <a:lnTo>
                    <a:pt x="60" y="318"/>
                  </a:lnTo>
                  <a:lnTo>
                    <a:pt x="40" y="297"/>
                  </a:lnTo>
                  <a:lnTo>
                    <a:pt x="23" y="273"/>
                  </a:lnTo>
                  <a:lnTo>
                    <a:pt x="10" y="246"/>
                  </a:lnTo>
                  <a:lnTo>
                    <a:pt x="3" y="216"/>
                  </a:lnTo>
                  <a:lnTo>
                    <a:pt x="0" y="184"/>
                  </a:lnTo>
                  <a:lnTo>
                    <a:pt x="3" y="153"/>
                  </a:lnTo>
                  <a:lnTo>
                    <a:pt x="10" y="123"/>
                  </a:lnTo>
                  <a:lnTo>
                    <a:pt x="23" y="96"/>
                  </a:lnTo>
                  <a:lnTo>
                    <a:pt x="40" y="72"/>
                  </a:lnTo>
                  <a:lnTo>
                    <a:pt x="60" y="51"/>
                  </a:lnTo>
                  <a:lnTo>
                    <a:pt x="84" y="33"/>
                  </a:lnTo>
                  <a:lnTo>
                    <a:pt x="111" y="19"/>
                  </a:lnTo>
                  <a:lnTo>
                    <a:pt x="140" y="8"/>
                  </a:lnTo>
                  <a:lnTo>
                    <a:pt x="171" y="1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F9BDA0"/>
            </a:solidFill>
            <a:ln w="0">
              <a:solidFill>
                <a:srgbClr val="F9BD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9" name="Freeform 20"/>
            <p:cNvSpPr>
              <a:spLocks/>
            </p:cNvSpPr>
            <p:nvPr/>
          </p:nvSpPr>
          <p:spPr bwMode="auto">
            <a:xfrm>
              <a:off x="2254" y="1533"/>
              <a:ext cx="296" cy="229"/>
            </a:xfrm>
            <a:custGeom>
              <a:avLst/>
              <a:gdLst>
                <a:gd name="T0" fmla="*/ 615 w 889"/>
                <a:gd name="T1" fmla="*/ 0 h 686"/>
                <a:gd name="T2" fmla="*/ 666 w 889"/>
                <a:gd name="T3" fmla="*/ 6 h 686"/>
                <a:gd name="T4" fmla="*/ 721 w 889"/>
                <a:gd name="T5" fmla="*/ 19 h 686"/>
                <a:gd name="T6" fmla="*/ 774 w 889"/>
                <a:gd name="T7" fmla="*/ 40 h 686"/>
                <a:gd name="T8" fmla="*/ 823 w 889"/>
                <a:gd name="T9" fmla="*/ 67 h 686"/>
                <a:gd name="T10" fmla="*/ 861 w 889"/>
                <a:gd name="T11" fmla="*/ 104 h 686"/>
                <a:gd name="T12" fmla="*/ 884 w 889"/>
                <a:gd name="T13" fmla="*/ 151 h 686"/>
                <a:gd name="T14" fmla="*/ 889 w 889"/>
                <a:gd name="T15" fmla="*/ 205 h 686"/>
                <a:gd name="T16" fmla="*/ 870 w 889"/>
                <a:gd name="T17" fmla="*/ 272 h 686"/>
                <a:gd name="T18" fmla="*/ 835 w 889"/>
                <a:gd name="T19" fmla="*/ 340 h 686"/>
                <a:gd name="T20" fmla="*/ 789 w 889"/>
                <a:gd name="T21" fmla="*/ 404 h 686"/>
                <a:gd name="T22" fmla="*/ 737 w 889"/>
                <a:gd name="T23" fmla="*/ 461 h 686"/>
                <a:gd name="T24" fmla="*/ 684 w 889"/>
                <a:gd name="T25" fmla="*/ 511 h 686"/>
                <a:gd name="T26" fmla="*/ 632 w 889"/>
                <a:gd name="T27" fmla="*/ 554 h 686"/>
                <a:gd name="T28" fmla="*/ 586 w 889"/>
                <a:gd name="T29" fmla="*/ 588 h 686"/>
                <a:gd name="T30" fmla="*/ 552 w 889"/>
                <a:gd name="T31" fmla="*/ 611 h 686"/>
                <a:gd name="T32" fmla="*/ 533 w 889"/>
                <a:gd name="T33" fmla="*/ 624 h 686"/>
                <a:gd name="T34" fmla="*/ 0 w 889"/>
                <a:gd name="T35" fmla="*/ 686 h 686"/>
                <a:gd name="T36" fmla="*/ 8 w 889"/>
                <a:gd name="T37" fmla="*/ 677 h 686"/>
                <a:gd name="T38" fmla="*/ 28 w 889"/>
                <a:gd name="T39" fmla="*/ 649 h 686"/>
                <a:gd name="T40" fmla="*/ 61 w 889"/>
                <a:gd name="T41" fmla="*/ 606 h 686"/>
                <a:gd name="T42" fmla="*/ 103 w 889"/>
                <a:gd name="T43" fmla="*/ 553 h 686"/>
                <a:gd name="T44" fmla="*/ 151 w 889"/>
                <a:gd name="T45" fmla="*/ 489 h 686"/>
                <a:gd name="T46" fmla="*/ 204 w 889"/>
                <a:gd name="T47" fmla="*/ 420 h 686"/>
                <a:gd name="T48" fmla="*/ 261 w 889"/>
                <a:gd name="T49" fmla="*/ 348 h 686"/>
                <a:gd name="T50" fmla="*/ 317 w 889"/>
                <a:gd name="T51" fmla="*/ 277 h 686"/>
                <a:gd name="T52" fmla="*/ 371 w 889"/>
                <a:gd name="T53" fmla="*/ 207 h 686"/>
                <a:gd name="T54" fmla="*/ 421 w 889"/>
                <a:gd name="T55" fmla="*/ 145 h 686"/>
                <a:gd name="T56" fmla="*/ 465 w 889"/>
                <a:gd name="T57" fmla="*/ 90 h 686"/>
                <a:gd name="T58" fmla="*/ 500 w 889"/>
                <a:gd name="T59" fmla="*/ 49 h 686"/>
                <a:gd name="T60" fmla="*/ 523 w 889"/>
                <a:gd name="T61" fmla="*/ 21 h 686"/>
                <a:gd name="T62" fmla="*/ 540 w 889"/>
                <a:gd name="T63" fmla="*/ 8 h 686"/>
                <a:gd name="T64" fmla="*/ 571 w 889"/>
                <a:gd name="T65" fmla="*/ 1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89" h="686">
                  <a:moveTo>
                    <a:pt x="592" y="0"/>
                  </a:moveTo>
                  <a:lnTo>
                    <a:pt x="615" y="0"/>
                  </a:lnTo>
                  <a:lnTo>
                    <a:pt x="640" y="3"/>
                  </a:lnTo>
                  <a:lnTo>
                    <a:pt x="666" y="6"/>
                  </a:lnTo>
                  <a:lnTo>
                    <a:pt x="693" y="12"/>
                  </a:lnTo>
                  <a:lnTo>
                    <a:pt x="721" y="19"/>
                  </a:lnTo>
                  <a:lnTo>
                    <a:pt x="748" y="28"/>
                  </a:lnTo>
                  <a:lnTo>
                    <a:pt x="774" y="40"/>
                  </a:lnTo>
                  <a:lnTo>
                    <a:pt x="799" y="52"/>
                  </a:lnTo>
                  <a:lnTo>
                    <a:pt x="823" y="67"/>
                  </a:lnTo>
                  <a:lnTo>
                    <a:pt x="843" y="85"/>
                  </a:lnTo>
                  <a:lnTo>
                    <a:pt x="861" y="104"/>
                  </a:lnTo>
                  <a:lnTo>
                    <a:pt x="875" y="126"/>
                  </a:lnTo>
                  <a:lnTo>
                    <a:pt x="884" y="151"/>
                  </a:lnTo>
                  <a:lnTo>
                    <a:pt x="889" y="176"/>
                  </a:lnTo>
                  <a:lnTo>
                    <a:pt x="889" y="205"/>
                  </a:lnTo>
                  <a:lnTo>
                    <a:pt x="883" y="236"/>
                  </a:lnTo>
                  <a:lnTo>
                    <a:pt x="870" y="272"/>
                  </a:lnTo>
                  <a:lnTo>
                    <a:pt x="854" y="307"/>
                  </a:lnTo>
                  <a:lnTo>
                    <a:pt x="835" y="340"/>
                  </a:lnTo>
                  <a:lnTo>
                    <a:pt x="813" y="373"/>
                  </a:lnTo>
                  <a:lnTo>
                    <a:pt x="789" y="404"/>
                  </a:lnTo>
                  <a:lnTo>
                    <a:pt x="764" y="433"/>
                  </a:lnTo>
                  <a:lnTo>
                    <a:pt x="737" y="461"/>
                  </a:lnTo>
                  <a:lnTo>
                    <a:pt x="710" y="487"/>
                  </a:lnTo>
                  <a:lnTo>
                    <a:pt x="684" y="511"/>
                  </a:lnTo>
                  <a:lnTo>
                    <a:pt x="657" y="535"/>
                  </a:lnTo>
                  <a:lnTo>
                    <a:pt x="632" y="554"/>
                  </a:lnTo>
                  <a:lnTo>
                    <a:pt x="608" y="573"/>
                  </a:lnTo>
                  <a:lnTo>
                    <a:pt x="586" y="588"/>
                  </a:lnTo>
                  <a:lnTo>
                    <a:pt x="568" y="600"/>
                  </a:lnTo>
                  <a:lnTo>
                    <a:pt x="552" y="611"/>
                  </a:lnTo>
                  <a:lnTo>
                    <a:pt x="540" y="619"/>
                  </a:lnTo>
                  <a:lnTo>
                    <a:pt x="533" y="624"/>
                  </a:lnTo>
                  <a:lnTo>
                    <a:pt x="531" y="625"/>
                  </a:lnTo>
                  <a:lnTo>
                    <a:pt x="0" y="686"/>
                  </a:lnTo>
                  <a:lnTo>
                    <a:pt x="2" y="684"/>
                  </a:lnTo>
                  <a:lnTo>
                    <a:pt x="8" y="677"/>
                  </a:lnTo>
                  <a:lnTo>
                    <a:pt x="16" y="665"/>
                  </a:lnTo>
                  <a:lnTo>
                    <a:pt x="28" y="649"/>
                  </a:lnTo>
                  <a:lnTo>
                    <a:pt x="44" y="629"/>
                  </a:lnTo>
                  <a:lnTo>
                    <a:pt x="61" y="606"/>
                  </a:lnTo>
                  <a:lnTo>
                    <a:pt x="81" y="581"/>
                  </a:lnTo>
                  <a:lnTo>
                    <a:pt x="103" y="553"/>
                  </a:lnTo>
                  <a:lnTo>
                    <a:pt x="126" y="522"/>
                  </a:lnTo>
                  <a:lnTo>
                    <a:pt x="151" y="489"/>
                  </a:lnTo>
                  <a:lnTo>
                    <a:pt x="178" y="456"/>
                  </a:lnTo>
                  <a:lnTo>
                    <a:pt x="204" y="420"/>
                  </a:lnTo>
                  <a:lnTo>
                    <a:pt x="232" y="384"/>
                  </a:lnTo>
                  <a:lnTo>
                    <a:pt x="261" y="348"/>
                  </a:lnTo>
                  <a:lnTo>
                    <a:pt x="289" y="313"/>
                  </a:lnTo>
                  <a:lnTo>
                    <a:pt x="317" y="277"/>
                  </a:lnTo>
                  <a:lnTo>
                    <a:pt x="344" y="242"/>
                  </a:lnTo>
                  <a:lnTo>
                    <a:pt x="371" y="207"/>
                  </a:lnTo>
                  <a:lnTo>
                    <a:pt x="397" y="175"/>
                  </a:lnTo>
                  <a:lnTo>
                    <a:pt x="421" y="145"/>
                  </a:lnTo>
                  <a:lnTo>
                    <a:pt x="444" y="117"/>
                  </a:lnTo>
                  <a:lnTo>
                    <a:pt x="465" y="90"/>
                  </a:lnTo>
                  <a:lnTo>
                    <a:pt x="483" y="68"/>
                  </a:lnTo>
                  <a:lnTo>
                    <a:pt x="500" y="49"/>
                  </a:lnTo>
                  <a:lnTo>
                    <a:pt x="512" y="33"/>
                  </a:lnTo>
                  <a:lnTo>
                    <a:pt x="523" y="21"/>
                  </a:lnTo>
                  <a:lnTo>
                    <a:pt x="531" y="14"/>
                  </a:lnTo>
                  <a:lnTo>
                    <a:pt x="540" y="8"/>
                  </a:lnTo>
                  <a:lnTo>
                    <a:pt x="554" y="4"/>
                  </a:lnTo>
                  <a:lnTo>
                    <a:pt x="571" y="1"/>
                  </a:lnTo>
                  <a:lnTo>
                    <a:pt x="592" y="0"/>
                  </a:lnTo>
                  <a:close/>
                </a:path>
              </a:pathLst>
            </a:custGeom>
            <a:solidFill>
              <a:srgbClr val="F9BDA0"/>
            </a:solidFill>
            <a:ln w="0">
              <a:solidFill>
                <a:srgbClr val="F9BD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0" name="Rectangle 21"/>
            <p:cNvSpPr>
              <a:spLocks noChangeArrowheads="1"/>
            </p:cNvSpPr>
            <p:nvPr/>
          </p:nvSpPr>
          <p:spPr bwMode="auto">
            <a:xfrm>
              <a:off x="2217" y="1676"/>
              <a:ext cx="82" cy="493"/>
            </a:xfrm>
            <a:prstGeom prst="rect">
              <a:avLst/>
            </a:prstGeom>
            <a:solidFill>
              <a:srgbClr val="102D35"/>
            </a:solidFill>
            <a:ln w="0">
              <a:solidFill>
                <a:srgbClr val="102D3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1" name="Freeform 22"/>
            <p:cNvSpPr>
              <a:spLocks/>
            </p:cNvSpPr>
            <p:nvPr/>
          </p:nvSpPr>
          <p:spPr bwMode="auto">
            <a:xfrm>
              <a:off x="2217" y="1676"/>
              <a:ext cx="82" cy="493"/>
            </a:xfrm>
            <a:custGeom>
              <a:avLst/>
              <a:gdLst>
                <a:gd name="T0" fmla="*/ 0 w 247"/>
                <a:gd name="T1" fmla="*/ 0 h 1479"/>
                <a:gd name="T2" fmla="*/ 247 w 247"/>
                <a:gd name="T3" fmla="*/ 0 h 1479"/>
                <a:gd name="T4" fmla="*/ 247 w 247"/>
                <a:gd name="T5" fmla="*/ 1479 h 1479"/>
                <a:gd name="T6" fmla="*/ 0 w 247"/>
                <a:gd name="T7" fmla="*/ 0 h 1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" h="1479">
                  <a:moveTo>
                    <a:pt x="0" y="0"/>
                  </a:moveTo>
                  <a:lnTo>
                    <a:pt x="247" y="0"/>
                  </a:lnTo>
                  <a:lnTo>
                    <a:pt x="247" y="14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4C5B"/>
            </a:solidFill>
            <a:ln w="0">
              <a:solidFill>
                <a:srgbClr val="0D4C5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2" name="Freeform 23"/>
            <p:cNvSpPr>
              <a:spLocks/>
            </p:cNvSpPr>
            <p:nvPr/>
          </p:nvSpPr>
          <p:spPr bwMode="auto">
            <a:xfrm>
              <a:off x="1785" y="1635"/>
              <a:ext cx="473" cy="555"/>
            </a:xfrm>
            <a:custGeom>
              <a:avLst/>
              <a:gdLst>
                <a:gd name="T0" fmla="*/ 0 w 1420"/>
                <a:gd name="T1" fmla="*/ 0 h 1666"/>
                <a:gd name="T2" fmla="*/ 1420 w 1420"/>
                <a:gd name="T3" fmla="*/ 0 h 1666"/>
                <a:gd name="T4" fmla="*/ 1420 w 1420"/>
                <a:gd name="T5" fmla="*/ 1666 h 1666"/>
                <a:gd name="T6" fmla="*/ 0 w 1420"/>
                <a:gd name="T7" fmla="*/ 1666 h 1666"/>
                <a:gd name="T8" fmla="*/ 0 w 1420"/>
                <a:gd name="T9" fmla="*/ 1012 h 1666"/>
                <a:gd name="T10" fmla="*/ 0 w 1420"/>
                <a:gd name="T11" fmla="*/ 0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0" h="1666">
                  <a:moveTo>
                    <a:pt x="0" y="0"/>
                  </a:moveTo>
                  <a:lnTo>
                    <a:pt x="1420" y="0"/>
                  </a:lnTo>
                  <a:lnTo>
                    <a:pt x="1420" y="1666"/>
                  </a:lnTo>
                  <a:lnTo>
                    <a:pt x="0" y="1666"/>
                  </a:lnTo>
                  <a:lnTo>
                    <a:pt x="0" y="10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589AD"/>
            </a:solidFill>
            <a:ln w="0">
              <a:solidFill>
                <a:srgbClr val="1589A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3" name="Freeform 24"/>
            <p:cNvSpPr>
              <a:spLocks/>
            </p:cNvSpPr>
            <p:nvPr/>
          </p:nvSpPr>
          <p:spPr bwMode="auto">
            <a:xfrm>
              <a:off x="1785" y="1635"/>
              <a:ext cx="473" cy="555"/>
            </a:xfrm>
            <a:custGeom>
              <a:avLst/>
              <a:gdLst>
                <a:gd name="T0" fmla="*/ 0 w 1420"/>
                <a:gd name="T1" fmla="*/ 0 h 1666"/>
                <a:gd name="T2" fmla="*/ 1420 w 1420"/>
                <a:gd name="T3" fmla="*/ 0 h 1666"/>
                <a:gd name="T4" fmla="*/ 1420 w 1420"/>
                <a:gd name="T5" fmla="*/ 1666 h 1666"/>
                <a:gd name="T6" fmla="*/ 0 w 1420"/>
                <a:gd name="T7" fmla="*/ 0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0" h="1666">
                  <a:moveTo>
                    <a:pt x="0" y="0"/>
                  </a:moveTo>
                  <a:lnTo>
                    <a:pt x="1420" y="0"/>
                  </a:lnTo>
                  <a:lnTo>
                    <a:pt x="1420" y="16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EA4C4"/>
            </a:solidFill>
            <a:ln w="0">
              <a:solidFill>
                <a:srgbClr val="1EA4C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4" name="Freeform 25"/>
            <p:cNvSpPr>
              <a:spLocks/>
            </p:cNvSpPr>
            <p:nvPr/>
          </p:nvSpPr>
          <p:spPr bwMode="auto">
            <a:xfrm>
              <a:off x="2052" y="1867"/>
              <a:ext cx="91" cy="90"/>
            </a:xfrm>
            <a:custGeom>
              <a:avLst/>
              <a:gdLst>
                <a:gd name="T0" fmla="*/ 137 w 272"/>
                <a:gd name="T1" fmla="*/ 0 h 271"/>
                <a:gd name="T2" fmla="*/ 168 w 272"/>
                <a:gd name="T3" fmla="*/ 4 h 271"/>
                <a:gd name="T4" fmla="*/ 196 w 272"/>
                <a:gd name="T5" fmla="*/ 13 h 271"/>
                <a:gd name="T6" fmla="*/ 221 w 272"/>
                <a:gd name="T7" fmla="*/ 30 h 271"/>
                <a:gd name="T8" fmla="*/ 242 w 272"/>
                <a:gd name="T9" fmla="*/ 50 h 271"/>
                <a:gd name="T10" fmla="*/ 258 w 272"/>
                <a:gd name="T11" fmla="*/ 76 h 271"/>
                <a:gd name="T12" fmla="*/ 269 w 272"/>
                <a:gd name="T13" fmla="*/ 105 h 271"/>
                <a:gd name="T14" fmla="*/ 272 w 272"/>
                <a:gd name="T15" fmla="*/ 136 h 271"/>
                <a:gd name="T16" fmla="*/ 269 w 272"/>
                <a:gd name="T17" fmla="*/ 167 h 271"/>
                <a:gd name="T18" fmla="*/ 258 w 272"/>
                <a:gd name="T19" fmla="*/ 195 h 271"/>
                <a:gd name="T20" fmla="*/ 242 w 272"/>
                <a:gd name="T21" fmla="*/ 221 h 271"/>
                <a:gd name="T22" fmla="*/ 221 w 272"/>
                <a:gd name="T23" fmla="*/ 241 h 271"/>
                <a:gd name="T24" fmla="*/ 196 w 272"/>
                <a:gd name="T25" fmla="*/ 258 h 271"/>
                <a:gd name="T26" fmla="*/ 168 w 272"/>
                <a:gd name="T27" fmla="*/ 268 h 271"/>
                <a:gd name="T28" fmla="*/ 137 w 272"/>
                <a:gd name="T29" fmla="*/ 271 h 271"/>
                <a:gd name="T30" fmla="*/ 105 w 272"/>
                <a:gd name="T31" fmla="*/ 268 h 271"/>
                <a:gd name="T32" fmla="*/ 76 w 272"/>
                <a:gd name="T33" fmla="*/ 258 h 271"/>
                <a:gd name="T34" fmla="*/ 51 w 272"/>
                <a:gd name="T35" fmla="*/ 241 h 271"/>
                <a:gd name="T36" fmla="*/ 30 w 272"/>
                <a:gd name="T37" fmla="*/ 221 h 271"/>
                <a:gd name="T38" fmla="*/ 14 w 272"/>
                <a:gd name="T39" fmla="*/ 195 h 271"/>
                <a:gd name="T40" fmla="*/ 4 w 272"/>
                <a:gd name="T41" fmla="*/ 167 h 271"/>
                <a:gd name="T42" fmla="*/ 0 w 272"/>
                <a:gd name="T43" fmla="*/ 136 h 271"/>
                <a:gd name="T44" fmla="*/ 4 w 272"/>
                <a:gd name="T45" fmla="*/ 105 h 271"/>
                <a:gd name="T46" fmla="*/ 14 w 272"/>
                <a:gd name="T47" fmla="*/ 76 h 271"/>
                <a:gd name="T48" fmla="*/ 30 w 272"/>
                <a:gd name="T49" fmla="*/ 50 h 271"/>
                <a:gd name="T50" fmla="*/ 51 w 272"/>
                <a:gd name="T51" fmla="*/ 30 h 271"/>
                <a:gd name="T52" fmla="*/ 76 w 272"/>
                <a:gd name="T53" fmla="*/ 13 h 271"/>
                <a:gd name="T54" fmla="*/ 105 w 272"/>
                <a:gd name="T55" fmla="*/ 4 h 271"/>
                <a:gd name="T56" fmla="*/ 137 w 272"/>
                <a:gd name="T57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2" h="271">
                  <a:moveTo>
                    <a:pt x="137" y="0"/>
                  </a:moveTo>
                  <a:lnTo>
                    <a:pt x="168" y="4"/>
                  </a:lnTo>
                  <a:lnTo>
                    <a:pt x="196" y="13"/>
                  </a:lnTo>
                  <a:lnTo>
                    <a:pt x="221" y="30"/>
                  </a:lnTo>
                  <a:lnTo>
                    <a:pt x="242" y="50"/>
                  </a:lnTo>
                  <a:lnTo>
                    <a:pt x="258" y="76"/>
                  </a:lnTo>
                  <a:lnTo>
                    <a:pt x="269" y="105"/>
                  </a:lnTo>
                  <a:lnTo>
                    <a:pt x="272" y="136"/>
                  </a:lnTo>
                  <a:lnTo>
                    <a:pt x="269" y="167"/>
                  </a:lnTo>
                  <a:lnTo>
                    <a:pt x="258" y="195"/>
                  </a:lnTo>
                  <a:lnTo>
                    <a:pt x="242" y="221"/>
                  </a:lnTo>
                  <a:lnTo>
                    <a:pt x="221" y="241"/>
                  </a:lnTo>
                  <a:lnTo>
                    <a:pt x="196" y="258"/>
                  </a:lnTo>
                  <a:lnTo>
                    <a:pt x="168" y="268"/>
                  </a:lnTo>
                  <a:lnTo>
                    <a:pt x="137" y="271"/>
                  </a:lnTo>
                  <a:lnTo>
                    <a:pt x="105" y="268"/>
                  </a:lnTo>
                  <a:lnTo>
                    <a:pt x="76" y="258"/>
                  </a:lnTo>
                  <a:lnTo>
                    <a:pt x="51" y="241"/>
                  </a:lnTo>
                  <a:lnTo>
                    <a:pt x="30" y="221"/>
                  </a:lnTo>
                  <a:lnTo>
                    <a:pt x="14" y="195"/>
                  </a:lnTo>
                  <a:lnTo>
                    <a:pt x="4" y="167"/>
                  </a:lnTo>
                  <a:lnTo>
                    <a:pt x="0" y="136"/>
                  </a:lnTo>
                  <a:lnTo>
                    <a:pt x="4" y="105"/>
                  </a:lnTo>
                  <a:lnTo>
                    <a:pt x="14" y="76"/>
                  </a:lnTo>
                  <a:lnTo>
                    <a:pt x="30" y="50"/>
                  </a:lnTo>
                  <a:lnTo>
                    <a:pt x="51" y="30"/>
                  </a:lnTo>
                  <a:lnTo>
                    <a:pt x="76" y="13"/>
                  </a:lnTo>
                  <a:lnTo>
                    <a:pt x="105" y="4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FFC114"/>
            </a:solidFill>
            <a:ln w="0">
              <a:solidFill>
                <a:srgbClr val="FFC11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5" name="Freeform 26"/>
            <p:cNvSpPr>
              <a:spLocks/>
            </p:cNvSpPr>
            <p:nvPr/>
          </p:nvSpPr>
          <p:spPr bwMode="auto">
            <a:xfrm>
              <a:off x="1853" y="1867"/>
              <a:ext cx="90" cy="90"/>
            </a:xfrm>
            <a:custGeom>
              <a:avLst/>
              <a:gdLst>
                <a:gd name="T0" fmla="*/ 135 w 272"/>
                <a:gd name="T1" fmla="*/ 0 h 271"/>
                <a:gd name="T2" fmla="*/ 164 w 272"/>
                <a:gd name="T3" fmla="*/ 3 h 271"/>
                <a:gd name="T4" fmla="*/ 191 w 272"/>
                <a:gd name="T5" fmla="*/ 11 h 271"/>
                <a:gd name="T6" fmla="*/ 214 w 272"/>
                <a:gd name="T7" fmla="*/ 24 h 271"/>
                <a:gd name="T8" fmla="*/ 233 w 272"/>
                <a:gd name="T9" fmla="*/ 40 h 271"/>
                <a:gd name="T10" fmla="*/ 250 w 272"/>
                <a:gd name="T11" fmla="*/ 61 h 271"/>
                <a:gd name="T12" fmla="*/ 261 w 272"/>
                <a:gd name="T13" fmla="*/ 83 h 271"/>
                <a:gd name="T14" fmla="*/ 268 w 272"/>
                <a:gd name="T15" fmla="*/ 108 h 271"/>
                <a:gd name="T16" fmla="*/ 272 w 272"/>
                <a:gd name="T17" fmla="*/ 136 h 271"/>
                <a:gd name="T18" fmla="*/ 268 w 272"/>
                <a:gd name="T19" fmla="*/ 166 h 271"/>
                <a:gd name="T20" fmla="*/ 258 w 272"/>
                <a:gd name="T21" fmla="*/ 195 h 271"/>
                <a:gd name="T22" fmla="*/ 242 w 272"/>
                <a:gd name="T23" fmla="*/ 221 h 271"/>
                <a:gd name="T24" fmla="*/ 220 w 272"/>
                <a:gd name="T25" fmla="*/ 241 h 271"/>
                <a:gd name="T26" fmla="*/ 195 w 272"/>
                <a:gd name="T27" fmla="*/ 258 h 271"/>
                <a:gd name="T28" fmla="*/ 166 w 272"/>
                <a:gd name="T29" fmla="*/ 268 h 271"/>
                <a:gd name="T30" fmla="*/ 135 w 272"/>
                <a:gd name="T31" fmla="*/ 271 h 271"/>
                <a:gd name="T32" fmla="*/ 105 w 272"/>
                <a:gd name="T33" fmla="*/ 268 h 271"/>
                <a:gd name="T34" fmla="*/ 76 w 272"/>
                <a:gd name="T35" fmla="*/ 258 h 271"/>
                <a:gd name="T36" fmla="*/ 51 w 272"/>
                <a:gd name="T37" fmla="*/ 241 h 271"/>
                <a:gd name="T38" fmla="*/ 30 w 272"/>
                <a:gd name="T39" fmla="*/ 221 h 271"/>
                <a:gd name="T40" fmla="*/ 13 w 272"/>
                <a:gd name="T41" fmla="*/ 195 h 271"/>
                <a:gd name="T42" fmla="*/ 3 w 272"/>
                <a:gd name="T43" fmla="*/ 166 h 271"/>
                <a:gd name="T44" fmla="*/ 0 w 272"/>
                <a:gd name="T45" fmla="*/ 136 h 271"/>
                <a:gd name="T46" fmla="*/ 3 w 272"/>
                <a:gd name="T47" fmla="*/ 105 h 271"/>
                <a:gd name="T48" fmla="*/ 13 w 272"/>
                <a:gd name="T49" fmla="*/ 77 h 271"/>
                <a:gd name="T50" fmla="*/ 30 w 272"/>
                <a:gd name="T51" fmla="*/ 52 h 271"/>
                <a:gd name="T52" fmla="*/ 51 w 272"/>
                <a:gd name="T53" fmla="*/ 31 h 271"/>
                <a:gd name="T54" fmla="*/ 76 w 272"/>
                <a:gd name="T55" fmla="*/ 15 h 271"/>
                <a:gd name="T56" fmla="*/ 105 w 272"/>
                <a:gd name="T57" fmla="*/ 4 h 271"/>
                <a:gd name="T58" fmla="*/ 135 w 272"/>
                <a:gd name="T59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2" h="271">
                  <a:moveTo>
                    <a:pt x="135" y="0"/>
                  </a:moveTo>
                  <a:lnTo>
                    <a:pt x="164" y="3"/>
                  </a:lnTo>
                  <a:lnTo>
                    <a:pt x="191" y="11"/>
                  </a:lnTo>
                  <a:lnTo>
                    <a:pt x="214" y="24"/>
                  </a:lnTo>
                  <a:lnTo>
                    <a:pt x="233" y="40"/>
                  </a:lnTo>
                  <a:lnTo>
                    <a:pt x="250" y="61"/>
                  </a:lnTo>
                  <a:lnTo>
                    <a:pt x="261" y="83"/>
                  </a:lnTo>
                  <a:lnTo>
                    <a:pt x="268" y="108"/>
                  </a:lnTo>
                  <a:lnTo>
                    <a:pt x="272" y="136"/>
                  </a:lnTo>
                  <a:lnTo>
                    <a:pt x="268" y="166"/>
                  </a:lnTo>
                  <a:lnTo>
                    <a:pt x="258" y="195"/>
                  </a:lnTo>
                  <a:lnTo>
                    <a:pt x="242" y="221"/>
                  </a:lnTo>
                  <a:lnTo>
                    <a:pt x="220" y="241"/>
                  </a:lnTo>
                  <a:lnTo>
                    <a:pt x="195" y="258"/>
                  </a:lnTo>
                  <a:lnTo>
                    <a:pt x="166" y="268"/>
                  </a:lnTo>
                  <a:lnTo>
                    <a:pt x="135" y="271"/>
                  </a:lnTo>
                  <a:lnTo>
                    <a:pt x="105" y="268"/>
                  </a:lnTo>
                  <a:lnTo>
                    <a:pt x="76" y="258"/>
                  </a:lnTo>
                  <a:lnTo>
                    <a:pt x="51" y="241"/>
                  </a:lnTo>
                  <a:lnTo>
                    <a:pt x="30" y="221"/>
                  </a:lnTo>
                  <a:lnTo>
                    <a:pt x="13" y="195"/>
                  </a:lnTo>
                  <a:lnTo>
                    <a:pt x="3" y="166"/>
                  </a:lnTo>
                  <a:lnTo>
                    <a:pt x="0" y="136"/>
                  </a:lnTo>
                  <a:lnTo>
                    <a:pt x="3" y="105"/>
                  </a:lnTo>
                  <a:lnTo>
                    <a:pt x="13" y="77"/>
                  </a:lnTo>
                  <a:lnTo>
                    <a:pt x="30" y="52"/>
                  </a:lnTo>
                  <a:lnTo>
                    <a:pt x="51" y="31"/>
                  </a:lnTo>
                  <a:lnTo>
                    <a:pt x="76" y="15"/>
                  </a:lnTo>
                  <a:lnTo>
                    <a:pt x="105" y="4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rgbClr val="FFC114"/>
            </a:solidFill>
            <a:ln w="0">
              <a:solidFill>
                <a:srgbClr val="FFC11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6" name="Freeform 27"/>
            <p:cNvSpPr>
              <a:spLocks/>
            </p:cNvSpPr>
            <p:nvPr/>
          </p:nvSpPr>
          <p:spPr bwMode="auto">
            <a:xfrm>
              <a:off x="2382" y="1286"/>
              <a:ext cx="277" cy="451"/>
            </a:xfrm>
            <a:custGeom>
              <a:avLst/>
              <a:gdLst>
                <a:gd name="T0" fmla="*/ 547 w 833"/>
                <a:gd name="T1" fmla="*/ 0 h 1355"/>
                <a:gd name="T2" fmla="*/ 577 w 833"/>
                <a:gd name="T3" fmla="*/ 5 h 1355"/>
                <a:gd name="T4" fmla="*/ 611 w 833"/>
                <a:gd name="T5" fmla="*/ 18 h 1355"/>
                <a:gd name="T6" fmla="*/ 644 w 833"/>
                <a:gd name="T7" fmla="*/ 39 h 1355"/>
                <a:gd name="T8" fmla="*/ 676 w 833"/>
                <a:gd name="T9" fmla="*/ 71 h 1355"/>
                <a:gd name="T10" fmla="*/ 702 w 833"/>
                <a:gd name="T11" fmla="*/ 116 h 1355"/>
                <a:gd name="T12" fmla="*/ 721 w 833"/>
                <a:gd name="T13" fmla="*/ 175 h 1355"/>
                <a:gd name="T14" fmla="*/ 731 w 833"/>
                <a:gd name="T15" fmla="*/ 251 h 1355"/>
                <a:gd name="T16" fmla="*/ 728 w 833"/>
                <a:gd name="T17" fmla="*/ 344 h 1355"/>
                <a:gd name="T18" fmla="*/ 710 w 833"/>
                <a:gd name="T19" fmla="*/ 467 h 1355"/>
                <a:gd name="T20" fmla="*/ 686 w 833"/>
                <a:gd name="T21" fmla="*/ 569 h 1355"/>
                <a:gd name="T22" fmla="*/ 658 w 833"/>
                <a:gd name="T23" fmla="*/ 651 h 1355"/>
                <a:gd name="T24" fmla="*/ 628 w 833"/>
                <a:gd name="T25" fmla="*/ 718 h 1355"/>
                <a:gd name="T26" fmla="*/ 598 w 833"/>
                <a:gd name="T27" fmla="*/ 773 h 1355"/>
                <a:gd name="T28" fmla="*/ 573 w 833"/>
                <a:gd name="T29" fmla="*/ 820 h 1355"/>
                <a:gd name="T30" fmla="*/ 552 w 833"/>
                <a:gd name="T31" fmla="*/ 860 h 1355"/>
                <a:gd name="T32" fmla="*/ 539 w 833"/>
                <a:gd name="T33" fmla="*/ 898 h 1355"/>
                <a:gd name="T34" fmla="*/ 537 w 833"/>
                <a:gd name="T35" fmla="*/ 951 h 1355"/>
                <a:gd name="T36" fmla="*/ 561 w 833"/>
                <a:gd name="T37" fmla="*/ 1015 h 1355"/>
                <a:gd name="T38" fmla="*/ 613 w 833"/>
                <a:gd name="T39" fmla="*/ 1073 h 1355"/>
                <a:gd name="T40" fmla="*/ 687 w 833"/>
                <a:gd name="T41" fmla="*/ 1119 h 1355"/>
                <a:gd name="T42" fmla="*/ 781 w 833"/>
                <a:gd name="T43" fmla="*/ 1150 h 1355"/>
                <a:gd name="T44" fmla="*/ 715 w 833"/>
                <a:gd name="T45" fmla="*/ 1257 h 1355"/>
                <a:gd name="T46" fmla="*/ 0 w 833"/>
                <a:gd name="T47" fmla="*/ 1306 h 1355"/>
                <a:gd name="T48" fmla="*/ 106 w 833"/>
                <a:gd name="T49" fmla="*/ 810 h 1355"/>
                <a:gd name="T50" fmla="*/ 118 w 833"/>
                <a:gd name="T51" fmla="*/ 791 h 1355"/>
                <a:gd name="T52" fmla="*/ 140 w 833"/>
                <a:gd name="T53" fmla="*/ 756 h 1355"/>
                <a:gd name="T54" fmla="*/ 169 w 833"/>
                <a:gd name="T55" fmla="*/ 710 h 1355"/>
                <a:gd name="T56" fmla="*/ 203 w 833"/>
                <a:gd name="T57" fmla="*/ 655 h 1355"/>
                <a:gd name="T58" fmla="*/ 242 w 833"/>
                <a:gd name="T59" fmla="*/ 598 h 1355"/>
                <a:gd name="T60" fmla="*/ 280 w 833"/>
                <a:gd name="T61" fmla="*/ 540 h 1355"/>
                <a:gd name="T62" fmla="*/ 316 w 833"/>
                <a:gd name="T63" fmla="*/ 485 h 1355"/>
                <a:gd name="T64" fmla="*/ 349 w 833"/>
                <a:gd name="T65" fmla="*/ 436 h 1355"/>
                <a:gd name="T66" fmla="*/ 381 w 833"/>
                <a:gd name="T67" fmla="*/ 375 h 1355"/>
                <a:gd name="T68" fmla="*/ 409 w 833"/>
                <a:gd name="T69" fmla="*/ 307 h 1355"/>
                <a:gd name="T70" fmla="*/ 436 w 833"/>
                <a:gd name="T71" fmla="*/ 234 h 1355"/>
                <a:gd name="T72" fmla="*/ 459 w 833"/>
                <a:gd name="T73" fmla="*/ 165 h 1355"/>
                <a:gd name="T74" fmla="*/ 478 w 833"/>
                <a:gd name="T75" fmla="*/ 101 h 1355"/>
                <a:gd name="T76" fmla="*/ 492 w 833"/>
                <a:gd name="T77" fmla="*/ 52 h 1355"/>
                <a:gd name="T78" fmla="*/ 499 w 833"/>
                <a:gd name="T79" fmla="*/ 19 h 1355"/>
                <a:gd name="T80" fmla="*/ 501 w 833"/>
                <a:gd name="T81" fmla="*/ 8 h 1355"/>
                <a:gd name="T82" fmla="*/ 513 w 833"/>
                <a:gd name="T83" fmla="*/ 2 h 1355"/>
                <a:gd name="T84" fmla="*/ 533 w 833"/>
                <a:gd name="T85" fmla="*/ 0 h 1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33" h="1355">
                  <a:moveTo>
                    <a:pt x="533" y="0"/>
                  </a:moveTo>
                  <a:lnTo>
                    <a:pt x="547" y="0"/>
                  </a:lnTo>
                  <a:lnTo>
                    <a:pt x="562" y="2"/>
                  </a:lnTo>
                  <a:lnTo>
                    <a:pt x="577" y="5"/>
                  </a:lnTo>
                  <a:lnTo>
                    <a:pt x="594" y="10"/>
                  </a:lnTo>
                  <a:lnTo>
                    <a:pt x="611" y="18"/>
                  </a:lnTo>
                  <a:lnTo>
                    <a:pt x="627" y="27"/>
                  </a:lnTo>
                  <a:lnTo>
                    <a:pt x="644" y="39"/>
                  </a:lnTo>
                  <a:lnTo>
                    <a:pt x="661" y="54"/>
                  </a:lnTo>
                  <a:lnTo>
                    <a:pt x="676" y="71"/>
                  </a:lnTo>
                  <a:lnTo>
                    <a:pt x="690" y="92"/>
                  </a:lnTo>
                  <a:lnTo>
                    <a:pt x="702" y="116"/>
                  </a:lnTo>
                  <a:lnTo>
                    <a:pt x="713" y="144"/>
                  </a:lnTo>
                  <a:lnTo>
                    <a:pt x="721" y="175"/>
                  </a:lnTo>
                  <a:lnTo>
                    <a:pt x="728" y="211"/>
                  </a:lnTo>
                  <a:lnTo>
                    <a:pt x="731" y="251"/>
                  </a:lnTo>
                  <a:lnTo>
                    <a:pt x="731" y="296"/>
                  </a:lnTo>
                  <a:lnTo>
                    <a:pt x="728" y="344"/>
                  </a:lnTo>
                  <a:lnTo>
                    <a:pt x="720" y="409"/>
                  </a:lnTo>
                  <a:lnTo>
                    <a:pt x="710" y="467"/>
                  </a:lnTo>
                  <a:lnTo>
                    <a:pt x="699" y="520"/>
                  </a:lnTo>
                  <a:lnTo>
                    <a:pt x="686" y="569"/>
                  </a:lnTo>
                  <a:lnTo>
                    <a:pt x="672" y="611"/>
                  </a:lnTo>
                  <a:lnTo>
                    <a:pt x="658" y="651"/>
                  </a:lnTo>
                  <a:lnTo>
                    <a:pt x="643" y="685"/>
                  </a:lnTo>
                  <a:lnTo>
                    <a:pt x="628" y="718"/>
                  </a:lnTo>
                  <a:lnTo>
                    <a:pt x="613" y="747"/>
                  </a:lnTo>
                  <a:lnTo>
                    <a:pt x="598" y="773"/>
                  </a:lnTo>
                  <a:lnTo>
                    <a:pt x="585" y="796"/>
                  </a:lnTo>
                  <a:lnTo>
                    <a:pt x="573" y="820"/>
                  </a:lnTo>
                  <a:lnTo>
                    <a:pt x="561" y="840"/>
                  </a:lnTo>
                  <a:lnTo>
                    <a:pt x="552" y="860"/>
                  </a:lnTo>
                  <a:lnTo>
                    <a:pt x="544" y="880"/>
                  </a:lnTo>
                  <a:lnTo>
                    <a:pt x="539" y="898"/>
                  </a:lnTo>
                  <a:lnTo>
                    <a:pt x="537" y="918"/>
                  </a:lnTo>
                  <a:lnTo>
                    <a:pt x="537" y="951"/>
                  </a:lnTo>
                  <a:lnTo>
                    <a:pt x="545" y="984"/>
                  </a:lnTo>
                  <a:lnTo>
                    <a:pt x="561" y="1015"/>
                  </a:lnTo>
                  <a:lnTo>
                    <a:pt x="584" y="1045"/>
                  </a:lnTo>
                  <a:lnTo>
                    <a:pt x="613" y="1073"/>
                  </a:lnTo>
                  <a:lnTo>
                    <a:pt x="648" y="1097"/>
                  </a:lnTo>
                  <a:lnTo>
                    <a:pt x="687" y="1119"/>
                  </a:lnTo>
                  <a:lnTo>
                    <a:pt x="732" y="1136"/>
                  </a:lnTo>
                  <a:lnTo>
                    <a:pt x="781" y="1150"/>
                  </a:lnTo>
                  <a:lnTo>
                    <a:pt x="833" y="1158"/>
                  </a:lnTo>
                  <a:lnTo>
                    <a:pt x="715" y="1257"/>
                  </a:lnTo>
                  <a:lnTo>
                    <a:pt x="352" y="1355"/>
                  </a:lnTo>
                  <a:lnTo>
                    <a:pt x="0" y="1306"/>
                  </a:lnTo>
                  <a:lnTo>
                    <a:pt x="104" y="813"/>
                  </a:lnTo>
                  <a:lnTo>
                    <a:pt x="106" y="810"/>
                  </a:lnTo>
                  <a:lnTo>
                    <a:pt x="111" y="802"/>
                  </a:lnTo>
                  <a:lnTo>
                    <a:pt x="118" y="791"/>
                  </a:lnTo>
                  <a:lnTo>
                    <a:pt x="128" y="776"/>
                  </a:lnTo>
                  <a:lnTo>
                    <a:pt x="140" y="756"/>
                  </a:lnTo>
                  <a:lnTo>
                    <a:pt x="154" y="734"/>
                  </a:lnTo>
                  <a:lnTo>
                    <a:pt x="169" y="710"/>
                  </a:lnTo>
                  <a:lnTo>
                    <a:pt x="186" y="683"/>
                  </a:lnTo>
                  <a:lnTo>
                    <a:pt x="203" y="655"/>
                  </a:lnTo>
                  <a:lnTo>
                    <a:pt x="222" y="626"/>
                  </a:lnTo>
                  <a:lnTo>
                    <a:pt x="242" y="598"/>
                  </a:lnTo>
                  <a:lnTo>
                    <a:pt x="260" y="569"/>
                  </a:lnTo>
                  <a:lnTo>
                    <a:pt x="280" y="540"/>
                  </a:lnTo>
                  <a:lnTo>
                    <a:pt x="298" y="512"/>
                  </a:lnTo>
                  <a:lnTo>
                    <a:pt x="316" y="485"/>
                  </a:lnTo>
                  <a:lnTo>
                    <a:pt x="333" y="461"/>
                  </a:lnTo>
                  <a:lnTo>
                    <a:pt x="349" y="436"/>
                  </a:lnTo>
                  <a:lnTo>
                    <a:pt x="364" y="408"/>
                  </a:lnTo>
                  <a:lnTo>
                    <a:pt x="381" y="375"/>
                  </a:lnTo>
                  <a:lnTo>
                    <a:pt x="396" y="342"/>
                  </a:lnTo>
                  <a:lnTo>
                    <a:pt x="409" y="307"/>
                  </a:lnTo>
                  <a:lnTo>
                    <a:pt x="423" y="271"/>
                  </a:lnTo>
                  <a:lnTo>
                    <a:pt x="436" y="234"/>
                  </a:lnTo>
                  <a:lnTo>
                    <a:pt x="449" y="199"/>
                  </a:lnTo>
                  <a:lnTo>
                    <a:pt x="459" y="165"/>
                  </a:lnTo>
                  <a:lnTo>
                    <a:pt x="470" y="131"/>
                  </a:lnTo>
                  <a:lnTo>
                    <a:pt x="478" y="101"/>
                  </a:lnTo>
                  <a:lnTo>
                    <a:pt x="486" y="75"/>
                  </a:lnTo>
                  <a:lnTo>
                    <a:pt x="492" y="52"/>
                  </a:lnTo>
                  <a:lnTo>
                    <a:pt x="496" y="32"/>
                  </a:lnTo>
                  <a:lnTo>
                    <a:pt x="499" y="19"/>
                  </a:lnTo>
                  <a:lnTo>
                    <a:pt x="500" y="11"/>
                  </a:lnTo>
                  <a:lnTo>
                    <a:pt x="501" y="8"/>
                  </a:lnTo>
                  <a:lnTo>
                    <a:pt x="506" y="4"/>
                  </a:lnTo>
                  <a:lnTo>
                    <a:pt x="513" y="2"/>
                  </a:lnTo>
                  <a:lnTo>
                    <a:pt x="522" y="1"/>
                  </a:lnTo>
                  <a:lnTo>
                    <a:pt x="533" y="0"/>
                  </a:lnTo>
                  <a:close/>
                </a:path>
              </a:pathLst>
            </a:custGeom>
            <a:solidFill>
              <a:srgbClr val="F9BDA0"/>
            </a:solidFill>
            <a:ln w="0">
              <a:solidFill>
                <a:srgbClr val="F9BD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7" name="Group 30"/>
          <p:cNvGrpSpPr>
            <a:grpSpLocks noChangeAspect="1"/>
          </p:cNvGrpSpPr>
          <p:nvPr/>
        </p:nvGrpSpPr>
        <p:grpSpPr bwMode="auto">
          <a:xfrm>
            <a:off x="2069470" y="5001468"/>
            <a:ext cx="570710" cy="570146"/>
            <a:chOff x="1598" y="642"/>
            <a:chExt cx="3036" cy="3033"/>
          </a:xfrm>
        </p:grpSpPr>
        <p:sp>
          <p:nvSpPr>
            <p:cNvPr id="118" name="Freeform 32"/>
            <p:cNvSpPr>
              <a:spLocks/>
            </p:cNvSpPr>
            <p:nvPr/>
          </p:nvSpPr>
          <p:spPr bwMode="auto">
            <a:xfrm>
              <a:off x="1598" y="642"/>
              <a:ext cx="3036" cy="3033"/>
            </a:xfrm>
            <a:custGeom>
              <a:avLst/>
              <a:gdLst>
                <a:gd name="T0" fmla="*/ 3221 w 6071"/>
                <a:gd name="T1" fmla="*/ 6 h 6067"/>
                <a:gd name="T2" fmla="*/ 3581 w 6071"/>
                <a:gd name="T3" fmla="*/ 50 h 6067"/>
                <a:gd name="T4" fmla="*/ 3929 w 6071"/>
                <a:gd name="T5" fmla="*/ 133 h 6067"/>
                <a:gd name="T6" fmla="*/ 4258 w 6071"/>
                <a:gd name="T7" fmla="*/ 257 h 6067"/>
                <a:gd name="T8" fmla="*/ 4568 w 6071"/>
                <a:gd name="T9" fmla="*/ 416 h 6067"/>
                <a:gd name="T10" fmla="*/ 4857 w 6071"/>
                <a:gd name="T11" fmla="*/ 606 h 6067"/>
                <a:gd name="T12" fmla="*/ 5121 w 6071"/>
                <a:gd name="T13" fmla="*/ 830 h 6067"/>
                <a:gd name="T14" fmla="*/ 5358 w 6071"/>
                <a:gd name="T15" fmla="*/ 1079 h 6067"/>
                <a:gd name="T16" fmla="*/ 5565 w 6071"/>
                <a:gd name="T17" fmla="*/ 1356 h 6067"/>
                <a:gd name="T18" fmla="*/ 5740 w 6071"/>
                <a:gd name="T19" fmla="*/ 1655 h 6067"/>
                <a:gd name="T20" fmla="*/ 5883 w 6071"/>
                <a:gd name="T21" fmla="*/ 1975 h 6067"/>
                <a:gd name="T22" fmla="*/ 5986 w 6071"/>
                <a:gd name="T23" fmla="*/ 2313 h 6067"/>
                <a:gd name="T24" fmla="*/ 6049 w 6071"/>
                <a:gd name="T25" fmla="*/ 2668 h 6067"/>
                <a:gd name="T26" fmla="*/ 6071 w 6071"/>
                <a:gd name="T27" fmla="*/ 3033 h 6067"/>
                <a:gd name="T28" fmla="*/ 6049 w 6071"/>
                <a:gd name="T29" fmla="*/ 3401 h 6067"/>
                <a:gd name="T30" fmla="*/ 5986 w 6071"/>
                <a:gd name="T31" fmla="*/ 3754 h 6067"/>
                <a:gd name="T32" fmla="*/ 5883 w 6071"/>
                <a:gd name="T33" fmla="*/ 4092 h 6067"/>
                <a:gd name="T34" fmla="*/ 5740 w 6071"/>
                <a:gd name="T35" fmla="*/ 4413 h 6067"/>
                <a:gd name="T36" fmla="*/ 5565 w 6071"/>
                <a:gd name="T37" fmla="*/ 4712 h 6067"/>
                <a:gd name="T38" fmla="*/ 5358 w 6071"/>
                <a:gd name="T39" fmla="*/ 4988 h 6067"/>
                <a:gd name="T40" fmla="*/ 5121 w 6071"/>
                <a:gd name="T41" fmla="*/ 5239 h 6067"/>
                <a:gd name="T42" fmla="*/ 4857 w 6071"/>
                <a:gd name="T43" fmla="*/ 5461 h 6067"/>
                <a:gd name="T44" fmla="*/ 4568 w 6071"/>
                <a:gd name="T45" fmla="*/ 5653 h 6067"/>
                <a:gd name="T46" fmla="*/ 4258 w 6071"/>
                <a:gd name="T47" fmla="*/ 5812 h 6067"/>
                <a:gd name="T48" fmla="*/ 3929 w 6071"/>
                <a:gd name="T49" fmla="*/ 5934 h 6067"/>
                <a:gd name="T50" fmla="*/ 3581 w 6071"/>
                <a:gd name="T51" fmla="*/ 6018 h 6067"/>
                <a:gd name="T52" fmla="*/ 3221 w 6071"/>
                <a:gd name="T53" fmla="*/ 6061 h 6067"/>
                <a:gd name="T54" fmla="*/ 2851 w 6071"/>
                <a:gd name="T55" fmla="*/ 6061 h 6067"/>
                <a:gd name="T56" fmla="*/ 2490 w 6071"/>
                <a:gd name="T57" fmla="*/ 6018 h 6067"/>
                <a:gd name="T58" fmla="*/ 2145 w 6071"/>
                <a:gd name="T59" fmla="*/ 5934 h 6067"/>
                <a:gd name="T60" fmla="*/ 1814 w 6071"/>
                <a:gd name="T61" fmla="*/ 5812 h 6067"/>
                <a:gd name="T62" fmla="*/ 1505 w 6071"/>
                <a:gd name="T63" fmla="*/ 5653 h 6067"/>
                <a:gd name="T64" fmla="*/ 1217 w 6071"/>
                <a:gd name="T65" fmla="*/ 5461 h 6067"/>
                <a:gd name="T66" fmla="*/ 952 w 6071"/>
                <a:gd name="T67" fmla="*/ 5239 h 6067"/>
                <a:gd name="T68" fmla="*/ 716 w 6071"/>
                <a:gd name="T69" fmla="*/ 4988 h 6067"/>
                <a:gd name="T70" fmla="*/ 507 w 6071"/>
                <a:gd name="T71" fmla="*/ 4712 h 6067"/>
                <a:gd name="T72" fmla="*/ 331 w 6071"/>
                <a:gd name="T73" fmla="*/ 4413 h 6067"/>
                <a:gd name="T74" fmla="*/ 191 w 6071"/>
                <a:gd name="T75" fmla="*/ 4092 h 6067"/>
                <a:gd name="T76" fmla="*/ 87 w 6071"/>
                <a:gd name="T77" fmla="*/ 3754 h 6067"/>
                <a:gd name="T78" fmla="*/ 22 w 6071"/>
                <a:gd name="T79" fmla="*/ 3401 h 6067"/>
                <a:gd name="T80" fmla="*/ 0 w 6071"/>
                <a:gd name="T81" fmla="*/ 3033 h 6067"/>
                <a:gd name="T82" fmla="*/ 22 w 6071"/>
                <a:gd name="T83" fmla="*/ 2668 h 6067"/>
                <a:gd name="T84" fmla="*/ 87 w 6071"/>
                <a:gd name="T85" fmla="*/ 2313 h 6067"/>
                <a:gd name="T86" fmla="*/ 191 w 6071"/>
                <a:gd name="T87" fmla="*/ 1975 h 6067"/>
                <a:gd name="T88" fmla="*/ 331 w 6071"/>
                <a:gd name="T89" fmla="*/ 1655 h 6067"/>
                <a:gd name="T90" fmla="*/ 507 w 6071"/>
                <a:gd name="T91" fmla="*/ 1356 h 6067"/>
                <a:gd name="T92" fmla="*/ 716 w 6071"/>
                <a:gd name="T93" fmla="*/ 1079 h 6067"/>
                <a:gd name="T94" fmla="*/ 952 w 6071"/>
                <a:gd name="T95" fmla="*/ 830 h 6067"/>
                <a:gd name="T96" fmla="*/ 1217 w 6071"/>
                <a:gd name="T97" fmla="*/ 606 h 6067"/>
                <a:gd name="T98" fmla="*/ 1505 w 6071"/>
                <a:gd name="T99" fmla="*/ 416 h 6067"/>
                <a:gd name="T100" fmla="*/ 1814 w 6071"/>
                <a:gd name="T101" fmla="*/ 257 h 6067"/>
                <a:gd name="T102" fmla="*/ 2145 w 6071"/>
                <a:gd name="T103" fmla="*/ 133 h 6067"/>
                <a:gd name="T104" fmla="*/ 2490 w 6071"/>
                <a:gd name="T105" fmla="*/ 50 h 6067"/>
                <a:gd name="T106" fmla="*/ 2851 w 6071"/>
                <a:gd name="T107" fmla="*/ 6 h 6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071" h="6067">
                  <a:moveTo>
                    <a:pt x="3036" y="0"/>
                  </a:moveTo>
                  <a:lnTo>
                    <a:pt x="3221" y="6"/>
                  </a:lnTo>
                  <a:lnTo>
                    <a:pt x="3404" y="22"/>
                  </a:lnTo>
                  <a:lnTo>
                    <a:pt x="3581" y="50"/>
                  </a:lnTo>
                  <a:lnTo>
                    <a:pt x="3757" y="87"/>
                  </a:lnTo>
                  <a:lnTo>
                    <a:pt x="3929" y="133"/>
                  </a:lnTo>
                  <a:lnTo>
                    <a:pt x="4095" y="190"/>
                  </a:lnTo>
                  <a:lnTo>
                    <a:pt x="4258" y="257"/>
                  </a:lnTo>
                  <a:lnTo>
                    <a:pt x="4415" y="331"/>
                  </a:lnTo>
                  <a:lnTo>
                    <a:pt x="4568" y="416"/>
                  </a:lnTo>
                  <a:lnTo>
                    <a:pt x="4716" y="506"/>
                  </a:lnTo>
                  <a:lnTo>
                    <a:pt x="4857" y="606"/>
                  </a:lnTo>
                  <a:lnTo>
                    <a:pt x="4992" y="715"/>
                  </a:lnTo>
                  <a:lnTo>
                    <a:pt x="5121" y="830"/>
                  </a:lnTo>
                  <a:lnTo>
                    <a:pt x="5243" y="951"/>
                  </a:lnTo>
                  <a:lnTo>
                    <a:pt x="5358" y="1079"/>
                  </a:lnTo>
                  <a:lnTo>
                    <a:pt x="5465" y="1216"/>
                  </a:lnTo>
                  <a:lnTo>
                    <a:pt x="5565" y="1356"/>
                  </a:lnTo>
                  <a:lnTo>
                    <a:pt x="5657" y="1504"/>
                  </a:lnTo>
                  <a:lnTo>
                    <a:pt x="5740" y="1655"/>
                  </a:lnTo>
                  <a:lnTo>
                    <a:pt x="5816" y="1814"/>
                  </a:lnTo>
                  <a:lnTo>
                    <a:pt x="5883" y="1975"/>
                  </a:lnTo>
                  <a:lnTo>
                    <a:pt x="5938" y="2143"/>
                  </a:lnTo>
                  <a:lnTo>
                    <a:pt x="5986" y="2313"/>
                  </a:lnTo>
                  <a:lnTo>
                    <a:pt x="6023" y="2488"/>
                  </a:lnTo>
                  <a:lnTo>
                    <a:pt x="6049" y="2668"/>
                  </a:lnTo>
                  <a:lnTo>
                    <a:pt x="6066" y="2849"/>
                  </a:lnTo>
                  <a:lnTo>
                    <a:pt x="6071" y="3033"/>
                  </a:lnTo>
                  <a:lnTo>
                    <a:pt x="6066" y="3218"/>
                  </a:lnTo>
                  <a:lnTo>
                    <a:pt x="6049" y="3401"/>
                  </a:lnTo>
                  <a:lnTo>
                    <a:pt x="6023" y="3580"/>
                  </a:lnTo>
                  <a:lnTo>
                    <a:pt x="5986" y="3754"/>
                  </a:lnTo>
                  <a:lnTo>
                    <a:pt x="5938" y="3926"/>
                  </a:lnTo>
                  <a:lnTo>
                    <a:pt x="5883" y="4092"/>
                  </a:lnTo>
                  <a:lnTo>
                    <a:pt x="5816" y="4254"/>
                  </a:lnTo>
                  <a:lnTo>
                    <a:pt x="5740" y="4413"/>
                  </a:lnTo>
                  <a:lnTo>
                    <a:pt x="5657" y="4565"/>
                  </a:lnTo>
                  <a:lnTo>
                    <a:pt x="5565" y="4712"/>
                  </a:lnTo>
                  <a:lnTo>
                    <a:pt x="5465" y="4853"/>
                  </a:lnTo>
                  <a:lnTo>
                    <a:pt x="5358" y="4988"/>
                  </a:lnTo>
                  <a:lnTo>
                    <a:pt x="5243" y="5117"/>
                  </a:lnTo>
                  <a:lnTo>
                    <a:pt x="5121" y="5239"/>
                  </a:lnTo>
                  <a:lnTo>
                    <a:pt x="4992" y="5353"/>
                  </a:lnTo>
                  <a:lnTo>
                    <a:pt x="4857" y="5461"/>
                  </a:lnTo>
                  <a:lnTo>
                    <a:pt x="4716" y="5560"/>
                  </a:lnTo>
                  <a:lnTo>
                    <a:pt x="4568" y="5653"/>
                  </a:lnTo>
                  <a:lnTo>
                    <a:pt x="4415" y="5736"/>
                  </a:lnTo>
                  <a:lnTo>
                    <a:pt x="4258" y="5812"/>
                  </a:lnTo>
                  <a:lnTo>
                    <a:pt x="4095" y="5878"/>
                  </a:lnTo>
                  <a:lnTo>
                    <a:pt x="3929" y="5934"/>
                  </a:lnTo>
                  <a:lnTo>
                    <a:pt x="3757" y="5982"/>
                  </a:lnTo>
                  <a:lnTo>
                    <a:pt x="3581" y="6018"/>
                  </a:lnTo>
                  <a:lnTo>
                    <a:pt x="3404" y="6044"/>
                  </a:lnTo>
                  <a:lnTo>
                    <a:pt x="3221" y="6061"/>
                  </a:lnTo>
                  <a:lnTo>
                    <a:pt x="3036" y="6067"/>
                  </a:lnTo>
                  <a:lnTo>
                    <a:pt x="2851" y="6061"/>
                  </a:lnTo>
                  <a:lnTo>
                    <a:pt x="2670" y="6044"/>
                  </a:lnTo>
                  <a:lnTo>
                    <a:pt x="2490" y="6018"/>
                  </a:lnTo>
                  <a:lnTo>
                    <a:pt x="2315" y="5982"/>
                  </a:lnTo>
                  <a:lnTo>
                    <a:pt x="2145" y="5934"/>
                  </a:lnTo>
                  <a:lnTo>
                    <a:pt x="1976" y="5878"/>
                  </a:lnTo>
                  <a:lnTo>
                    <a:pt x="1814" y="5812"/>
                  </a:lnTo>
                  <a:lnTo>
                    <a:pt x="1657" y="5736"/>
                  </a:lnTo>
                  <a:lnTo>
                    <a:pt x="1505" y="5653"/>
                  </a:lnTo>
                  <a:lnTo>
                    <a:pt x="1357" y="5560"/>
                  </a:lnTo>
                  <a:lnTo>
                    <a:pt x="1217" y="5461"/>
                  </a:lnTo>
                  <a:lnTo>
                    <a:pt x="1080" y="5353"/>
                  </a:lnTo>
                  <a:lnTo>
                    <a:pt x="952" y="5239"/>
                  </a:lnTo>
                  <a:lnTo>
                    <a:pt x="830" y="5117"/>
                  </a:lnTo>
                  <a:lnTo>
                    <a:pt x="716" y="4988"/>
                  </a:lnTo>
                  <a:lnTo>
                    <a:pt x="607" y="4853"/>
                  </a:lnTo>
                  <a:lnTo>
                    <a:pt x="507" y="4712"/>
                  </a:lnTo>
                  <a:lnTo>
                    <a:pt x="416" y="4565"/>
                  </a:lnTo>
                  <a:lnTo>
                    <a:pt x="331" y="4413"/>
                  </a:lnTo>
                  <a:lnTo>
                    <a:pt x="257" y="4254"/>
                  </a:lnTo>
                  <a:lnTo>
                    <a:pt x="191" y="4092"/>
                  </a:lnTo>
                  <a:lnTo>
                    <a:pt x="133" y="3926"/>
                  </a:lnTo>
                  <a:lnTo>
                    <a:pt x="87" y="3754"/>
                  </a:lnTo>
                  <a:lnTo>
                    <a:pt x="50" y="3580"/>
                  </a:lnTo>
                  <a:lnTo>
                    <a:pt x="22" y="3401"/>
                  </a:lnTo>
                  <a:lnTo>
                    <a:pt x="6" y="3218"/>
                  </a:lnTo>
                  <a:lnTo>
                    <a:pt x="0" y="3033"/>
                  </a:lnTo>
                  <a:lnTo>
                    <a:pt x="6" y="2849"/>
                  </a:lnTo>
                  <a:lnTo>
                    <a:pt x="22" y="2668"/>
                  </a:lnTo>
                  <a:lnTo>
                    <a:pt x="50" y="2488"/>
                  </a:lnTo>
                  <a:lnTo>
                    <a:pt x="87" y="2313"/>
                  </a:lnTo>
                  <a:lnTo>
                    <a:pt x="133" y="2143"/>
                  </a:lnTo>
                  <a:lnTo>
                    <a:pt x="191" y="1975"/>
                  </a:lnTo>
                  <a:lnTo>
                    <a:pt x="257" y="1814"/>
                  </a:lnTo>
                  <a:lnTo>
                    <a:pt x="331" y="1655"/>
                  </a:lnTo>
                  <a:lnTo>
                    <a:pt x="416" y="1504"/>
                  </a:lnTo>
                  <a:lnTo>
                    <a:pt x="507" y="1356"/>
                  </a:lnTo>
                  <a:lnTo>
                    <a:pt x="607" y="1216"/>
                  </a:lnTo>
                  <a:lnTo>
                    <a:pt x="716" y="1079"/>
                  </a:lnTo>
                  <a:lnTo>
                    <a:pt x="830" y="951"/>
                  </a:lnTo>
                  <a:lnTo>
                    <a:pt x="952" y="830"/>
                  </a:lnTo>
                  <a:lnTo>
                    <a:pt x="1080" y="715"/>
                  </a:lnTo>
                  <a:lnTo>
                    <a:pt x="1217" y="606"/>
                  </a:lnTo>
                  <a:lnTo>
                    <a:pt x="1357" y="506"/>
                  </a:lnTo>
                  <a:lnTo>
                    <a:pt x="1505" y="416"/>
                  </a:lnTo>
                  <a:lnTo>
                    <a:pt x="1657" y="331"/>
                  </a:lnTo>
                  <a:lnTo>
                    <a:pt x="1814" y="257"/>
                  </a:lnTo>
                  <a:lnTo>
                    <a:pt x="1976" y="190"/>
                  </a:lnTo>
                  <a:lnTo>
                    <a:pt x="2145" y="133"/>
                  </a:lnTo>
                  <a:lnTo>
                    <a:pt x="2315" y="87"/>
                  </a:lnTo>
                  <a:lnTo>
                    <a:pt x="2490" y="50"/>
                  </a:lnTo>
                  <a:lnTo>
                    <a:pt x="2670" y="22"/>
                  </a:lnTo>
                  <a:lnTo>
                    <a:pt x="2851" y="6"/>
                  </a:lnTo>
                  <a:lnTo>
                    <a:pt x="3036" y="0"/>
                  </a:lnTo>
                  <a:close/>
                </a:path>
              </a:pathLst>
            </a:custGeom>
            <a:solidFill>
              <a:srgbClr val="FFC10E"/>
            </a:solidFill>
            <a:ln w="0">
              <a:solidFill>
                <a:srgbClr val="FFC10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9" name="Freeform 33"/>
            <p:cNvSpPr>
              <a:spLocks/>
            </p:cNvSpPr>
            <p:nvPr/>
          </p:nvSpPr>
          <p:spPr bwMode="auto">
            <a:xfrm>
              <a:off x="2119" y="2159"/>
              <a:ext cx="1993" cy="996"/>
            </a:xfrm>
            <a:custGeom>
              <a:avLst/>
              <a:gdLst>
                <a:gd name="T0" fmla="*/ 0 w 3986"/>
                <a:gd name="T1" fmla="*/ 0 h 1992"/>
                <a:gd name="T2" fmla="*/ 3986 w 3986"/>
                <a:gd name="T3" fmla="*/ 0 h 1992"/>
                <a:gd name="T4" fmla="*/ 3980 w 3986"/>
                <a:gd name="T5" fmla="*/ 150 h 1992"/>
                <a:gd name="T6" fmla="*/ 3963 w 3986"/>
                <a:gd name="T7" fmla="*/ 296 h 1992"/>
                <a:gd name="T8" fmla="*/ 3937 w 3986"/>
                <a:gd name="T9" fmla="*/ 438 h 1992"/>
                <a:gd name="T10" fmla="*/ 3902 w 3986"/>
                <a:gd name="T11" fmla="*/ 577 h 1992"/>
                <a:gd name="T12" fmla="*/ 3856 w 3986"/>
                <a:gd name="T13" fmla="*/ 711 h 1992"/>
                <a:gd name="T14" fmla="*/ 3801 w 3986"/>
                <a:gd name="T15" fmla="*/ 841 h 1992"/>
                <a:gd name="T16" fmla="*/ 3736 w 3986"/>
                <a:gd name="T17" fmla="*/ 966 h 1992"/>
                <a:gd name="T18" fmla="*/ 3664 w 3986"/>
                <a:gd name="T19" fmla="*/ 1085 h 1992"/>
                <a:gd name="T20" fmla="*/ 3584 w 3986"/>
                <a:gd name="T21" fmla="*/ 1199 h 1992"/>
                <a:gd name="T22" fmla="*/ 3498 w 3986"/>
                <a:gd name="T23" fmla="*/ 1308 h 1992"/>
                <a:gd name="T24" fmla="*/ 3401 w 3986"/>
                <a:gd name="T25" fmla="*/ 1410 h 1992"/>
                <a:gd name="T26" fmla="*/ 3300 w 3986"/>
                <a:gd name="T27" fmla="*/ 1504 h 1992"/>
                <a:gd name="T28" fmla="*/ 3192 w 3986"/>
                <a:gd name="T29" fmla="*/ 1591 h 1992"/>
                <a:gd name="T30" fmla="*/ 3078 w 3986"/>
                <a:gd name="T31" fmla="*/ 1672 h 1992"/>
                <a:gd name="T32" fmla="*/ 2958 w 3986"/>
                <a:gd name="T33" fmla="*/ 1744 h 1992"/>
                <a:gd name="T34" fmla="*/ 2834 w 3986"/>
                <a:gd name="T35" fmla="*/ 1807 h 1992"/>
                <a:gd name="T36" fmla="*/ 2703 w 3986"/>
                <a:gd name="T37" fmla="*/ 1862 h 1992"/>
                <a:gd name="T38" fmla="*/ 2569 w 3986"/>
                <a:gd name="T39" fmla="*/ 1908 h 1992"/>
                <a:gd name="T40" fmla="*/ 2431 w 3986"/>
                <a:gd name="T41" fmla="*/ 1943 h 1992"/>
                <a:gd name="T42" fmla="*/ 2287 w 3986"/>
                <a:gd name="T43" fmla="*/ 1971 h 1992"/>
                <a:gd name="T44" fmla="*/ 2142 w 3986"/>
                <a:gd name="T45" fmla="*/ 1986 h 1992"/>
                <a:gd name="T46" fmla="*/ 1993 w 3986"/>
                <a:gd name="T47" fmla="*/ 1992 h 1992"/>
                <a:gd name="T48" fmla="*/ 1845 w 3986"/>
                <a:gd name="T49" fmla="*/ 1986 h 1992"/>
                <a:gd name="T50" fmla="*/ 1699 w 3986"/>
                <a:gd name="T51" fmla="*/ 1971 h 1992"/>
                <a:gd name="T52" fmla="*/ 1556 w 3986"/>
                <a:gd name="T53" fmla="*/ 1943 h 1992"/>
                <a:gd name="T54" fmla="*/ 1418 w 3986"/>
                <a:gd name="T55" fmla="*/ 1908 h 1992"/>
                <a:gd name="T56" fmla="*/ 1283 w 3986"/>
                <a:gd name="T57" fmla="*/ 1862 h 1992"/>
                <a:gd name="T58" fmla="*/ 1153 w 3986"/>
                <a:gd name="T59" fmla="*/ 1807 h 1992"/>
                <a:gd name="T60" fmla="*/ 1028 w 3986"/>
                <a:gd name="T61" fmla="*/ 1744 h 1992"/>
                <a:gd name="T62" fmla="*/ 908 w 3986"/>
                <a:gd name="T63" fmla="*/ 1672 h 1992"/>
                <a:gd name="T64" fmla="*/ 795 w 3986"/>
                <a:gd name="T65" fmla="*/ 1591 h 1992"/>
                <a:gd name="T66" fmla="*/ 686 w 3986"/>
                <a:gd name="T67" fmla="*/ 1504 h 1992"/>
                <a:gd name="T68" fmla="*/ 584 w 3986"/>
                <a:gd name="T69" fmla="*/ 1410 h 1992"/>
                <a:gd name="T70" fmla="*/ 490 w 3986"/>
                <a:gd name="T71" fmla="*/ 1308 h 1992"/>
                <a:gd name="T72" fmla="*/ 401 w 3986"/>
                <a:gd name="T73" fmla="*/ 1199 h 1992"/>
                <a:gd name="T74" fmla="*/ 321 w 3986"/>
                <a:gd name="T75" fmla="*/ 1085 h 1992"/>
                <a:gd name="T76" fmla="*/ 249 w 3986"/>
                <a:gd name="T77" fmla="*/ 966 h 1992"/>
                <a:gd name="T78" fmla="*/ 185 w 3986"/>
                <a:gd name="T79" fmla="*/ 841 h 1992"/>
                <a:gd name="T80" fmla="*/ 131 w 3986"/>
                <a:gd name="T81" fmla="*/ 711 h 1992"/>
                <a:gd name="T82" fmla="*/ 85 w 3986"/>
                <a:gd name="T83" fmla="*/ 577 h 1992"/>
                <a:gd name="T84" fmla="*/ 48 w 3986"/>
                <a:gd name="T85" fmla="*/ 438 h 1992"/>
                <a:gd name="T86" fmla="*/ 22 w 3986"/>
                <a:gd name="T87" fmla="*/ 296 h 1992"/>
                <a:gd name="T88" fmla="*/ 5 w 3986"/>
                <a:gd name="T89" fmla="*/ 150 h 1992"/>
                <a:gd name="T90" fmla="*/ 0 w 3986"/>
                <a:gd name="T91" fmla="*/ 0 h 1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86" h="1992">
                  <a:moveTo>
                    <a:pt x="0" y="0"/>
                  </a:moveTo>
                  <a:lnTo>
                    <a:pt x="3986" y="0"/>
                  </a:lnTo>
                  <a:lnTo>
                    <a:pt x="3980" y="150"/>
                  </a:lnTo>
                  <a:lnTo>
                    <a:pt x="3963" y="296"/>
                  </a:lnTo>
                  <a:lnTo>
                    <a:pt x="3937" y="438"/>
                  </a:lnTo>
                  <a:lnTo>
                    <a:pt x="3902" y="577"/>
                  </a:lnTo>
                  <a:lnTo>
                    <a:pt x="3856" y="711"/>
                  </a:lnTo>
                  <a:lnTo>
                    <a:pt x="3801" y="841"/>
                  </a:lnTo>
                  <a:lnTo>
                    <a:pt x="3736" y="966"/>
                  </a:lnTo>
                  <a:lnTo>
                    <a:pt x="3664" y="1085"/>
                  </a:lnTo>
                  <a:lnTo>
                    <a:pt x="3584" y="1199"/>
                  </a:lnTo>
                  <a:lnTo>
                    <a:pt x="3498" y="1308"/>
                  </a:lnTo>
                  <a:lnTo>
                    <a:pt x="3401" y="1410"/>
                  </a:lnTo>
                  <a:lnTo>
                    <a:pt x="3300" y="1504"/>
                  </a:lnTo>
                  <a:lnTo>
                    <a:pt x="3192" y="1591"/>
                  </a:lnTo>
                  <a:lnTo>
                    <a:pt x="3078" y="1672"/>
                  </a:lnTo>
                  <a:lnTo>
                    <a:pt x="2958" y="1744"/>
                  </a:lnTo>
                  <a:lnTo>
                    <a:pt x="2834" y="1807"/>
                  </a:lnTo>
                  <a:lnTo>
                    <a:pt x="2703" y="1862"/>
                  </a:lnTo>
                  <a:lnTo>
                    <a:pt x="2569" y="1908"/>
                  </a:lnTo>
                  <a:lnTo>
                    <a:pt x="2431" y="1943"/>
                  </a:lnTo>
                  <a:lnTo>
                    <a:pt x="2287" y="1971"/>
                  </a:lnTo>
                  <a:lnTo>
                    <a:pt x="2142" y="1986"/>
                  </a:lnTo>
                  <a:lnTo>
                    <a:pt x="1993" y="1992"/>
                  </a:lnTo>
                  <a:lnTo>
                    <a:pt x="1845" y="1986"/>
                  </a:lnTo>
                  <a:lnTo>
                    <a:pt x="1699" y="1971"/>
                  </a:lnTo>
                  <a:lnTo>
                    <a:pt x="1556" y="1943"/>
                  </a:lnTo>
                  <a:lnTo>
                    <a:pt x="1418" y="1908"/>
                  </a:lnTo>
                  <a:lnTo>
                    <a:pt x="1283" y="1862"/>
                  </a:lnTo>
                  <a:lnTo>
                    <a:pt x="1153" y="1807"/>
                  </a:lnTo>
                  <a:lnTo>
                    <a:pt x="1028" y="1744"/>
                  </a:lnTo>
                  <a:lnTo>
                    <a:pt x="908" y="1672"/>
                  </a:lnTo>
                  <a:lnTo>
                    <a:pt x="795" y="1591"/>
                  </a:lnTo>
                  <a:lnTo>
                    <a:pt x="686" y="1504"/>
                  </a:lnTo>
                  <a:lnTo>
                    <a:pt x="584" y="1410"/>
                  </a:lnTo>
                  <a:lnTo>
                    <a:pt x="490" y="1308"/>
                  </a:lnTo>
                  <a:lnTo>
                    <a:pt x="401" y="1199"/>
                  </a:lnTo>
                  <a:lnTo>
                    <a:pt x="321" y="1085"/>
                  </a:lnTo>
                  <a:lnTo>
                    <a:pt x="249" y="966"/>
                  </a:lnTo>
                  <a:lnTo>
                    <a:pt x="185" y="841"/>
                  </a:lnTo>
                  <a:lnTo>
                    <a:pt x="131" y="711"/>
                  </a:lnTo>
                  <a:lnTo>
                    <a:pt x="85" y="577"/>
                  </a:lnTo>
                  <a:lnTo>
                    <a:pt x="48" y="438"/>
                  </a:lnTo>
                  <a:lnTo>
                    <a:pt x="22" y="296"/>
                  </a:lnTo>
                  <a:lnTo>
                    <a:pt x="5" y="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0" name="Freeform 34"/>
            <p:cNvSpPr>
              <a:spLocks/>
            </p:cNvSpPr>
            <p:nvPr/>
          </p:nvSpPr>
          <p:spPr bwMode="auto">
            <a:xfrm>
              <a:off x="2416" y="1397"/>
              <a:ext cx="477" cy="477"/>
            </a:xfrm>
            <a:custGeom>
              <a:avLst/>
              <a:gdLst>
                <a:gd name="T0" fmla="*/ 477 w 954"/>
                <a:gd name="T1" fmla="*/ 0 h 953"/>
                <a:gd name="T2" fmla="*/ 547 w 954"/>
                <a:gd name="T3" fmla="*/ 6 h 953"/>
                <a:gd name="T4" fmla="*/ 616 w 954"/>
                <a:gd name="T5" fmla="*/ 20 h 953"/>
                <a:gd name="T6" fmla="*/ 679 w 954"/>
                <a:gd name="T7" fmla="*/ 44 h 953"/>
                <a:gd name="T8" fmla="*/ 738 w 954"/>
                <a:gd name="T9" fmla="*/ 78 h 953"/>
                <a:gd name="T10" fmla="*/ 790 w 954"/>
                <a:gd name="T11" fmla="*/ 117 h 953"/>
                <a:gd name="T12" fmla="*/ 838 w 954"/>
                <a:gd name="T13" fmla="*/ 165 h 953"/>
                <a:gd name="T14" fmla="*/ 878 w 954"/>
                <a:gd name="T15" fmla="*/ 218 h 953"/>
                <a:gd name="T16" fmla="*/ 910 w 954"/>
                <a:gd name="T17" fmla="*/ 275 h 953"/>
                <a:gd name="T18" fmla="*/ 934 w 954"/>
                <a:gd name="T19" fmla="*/ 340 h 953"/>
                <a:gd name="T20" fmla="*/ 949 w 954"/>
                <a:gd name="T21" fmla="*/ 407 h 953"/>
                <a:gd name="T22" fmla="*/ 954 w 954"/>
                <a:gd name="T23" fmla="*/ 477 h 953"/>
                <a:gd name="T24" fmla="*/ 949 w 954"/>
                <a:gd name="T25" fmla="*/ 547 h 953"/>
                <a:gd name="T26" fmla="*/ 934 w 954"/>
                <a:gd name="T27" fmla="*/ 613 h 953"/>
                <a:gd name="T28" fmla="*/ 910 w 954"/>
                <a:gd name="T29" fmla="*/ 678 h 953"/>
                <a:gd name="T30" fmla="*/ 878 w 954"/>
                <a:gd name="T31" fmla="*/ 735 h 953"/>
                <a:gd name="T32" fmla="*/ 838 w 954"/>
                <a:gd name="T33" fmla="*/ 789 h 953"/>
                <a:gd name="T34" fmla="*/ 790 w 954"/>
                <a:gd name="T35" fmla="*/ 837 h 953"/>
                <a:gd name="T36" fmla="*/ 738 w 954"/>
                <a:gd name="T37" fmla="*/ 876 h 953"/>
                <a:gd name="T38" fmla="*/ 679 w 954"/>
                <a:gd name="T39" fmla="*/ 909 h 953"/>
                <a:gd name="T40" fmla="*/ 616 w 954"/>
                <a:gd name="T41" fmla="*/ 933 h 953"/>
                <a:gd name="T42" fmla="*/ 547 w 954"/>
                <a:gd name="T43" fmla="*/ 948 h 953"/>
                <a:gd name="T44" fmla="*/ 477 w 954"/>
                <a:gd name="T45" fmla="*/ 953 h 953"/>
                <a:gd name="T46" fmla="*/ 407 w 954"/>
                <a:gd name="T47" fmla="*/ 948 h 953"/>
                <a:gd name="T48" fmla="*/ 340 w 954"/>
                <a:gd name="T49" fmla="*/ 933 h 953"/>
                <a:gd name="T50" fmla="*/ 276 w 954"/>
                <a:gd name="T51" fmla="*/ 909 h 953"/>
                <a:gd name="T52" fmla="*/ 218 w 954"/>
                <a:gd name="T53" fmla="*/ 876 h 953"/>
                <a:gd name="T54" fmla="*/ 165 w 954"/>
                <a:gd name="T55" fmla="*/ 837 h 953"/>
                <a:gd name="T56" fmla="*/ 119 w 954"/>
                <a:gd name="T57" fmla="*/ 789 h 953"/>
                <a:gd name="T58" fmla="*/ 78 w 954"/>
                <a:gd name="T59" fmla="*/ 735 h 953"/>
                <a:gd name="T60" fmla="*/ 45 w 954"/>
                <a:gd name="T61" fmla="*/ 678 h 953"/>
                <a:gd name="T62" fmla="*/ 21 w 954"/>
                <a:gd name="T63" fmla="*/ 613 h 953"/>
                <a:gd name="T64" fmla="*/ 6 w 954"/>
                <a:gd name="T65" fmla="*/ 547 h 953"/>
                <a:gd name="T66" fmla="*/ 0 w 954"/>
                <a:gd name="T67" fmla="*/ 477 h 953"/>
                <a:gd name="T68" fmla="*/ 6 w 954"/>
                <a:gd name="T69" fmla="*/ 407 h 953"/>
                <a:gd name="T70" fmla="*/ 21 w 954"/>
                <a:gd name="T71" fmla="*/ 340 h 953"/>
                <a:gd name="T72" fmla="*/ 45 w 954"/>
                <a:gd name="T73" fmla="*/ 275 h 953"/>
                <a:gd name="T74" fmla="*/ 78 w 954"/>
                <a:gd name="T75" fmla="*/ 218 h 953"/>
                <a:gd name="T76" fmla="*/ 119 w 954"/>
                <a:gd name="T77" fmla="*/ 165 h 953"/>
                <a:gd name="T78" fmla="*/ 165 w 954"/>
                <a:gd name="T79" fmla="*/ 117 h 953"/>
                <a:gd name="T80" fmla="*/ 218 w 954"/>
                <a:gd name="T81" fmla="*/ 78 h 953"/>
                <a:gd name="T82" fmla="*/ 276 w 954"/>
                <a:gd name="T83" fmla="*/ 44 h 953"/>
                <a:gd name="T84" fmla="*/ 340 w 954"/>
                <a:gd name="T85" fmla="*/ 20 h 953"/>
                <a:gd name="T86" fmla="*/ 407 w 954"/>
                <a:gd name="T87" fmla="*/ 6 h 953"/>
                <a:gd name="T88" fmla="*/ 477 w 954"/>
                <a:gd name="T89" fmla="*/ 0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54" h="953">
                  <a:moveTo>
                    <a:pt x="477" y="0"/>
                  </a:moveTo>
                  <a:lnTo>
                    <a:pt x="547" y="6"/>
                  </a:lnTo>
                  <a:lnTo>
                    <a:pt x="616" y="20"/>
                  </a:lnTo>
                  <a:lnTo>
                    <a:pt x="679" y="44"/>
                  </a:lnTo>
                  <a:lnTo>
                    <a:pt x="738" y="78"/>
                  </a:lnTo>
                  <a:lnTo>
                    <a:pt x="790" y="117"/>
                  </a:lnTo>
                  <a:lnTo>
                    <a:pt x="838" y="165"/>
                  </a:lnTo>
                  <a:lnTo>
                    <a:pt x="878" y="218"/>
                  </a:lnTo>
                  <a:lnTo>
                    <a:pt x="910" y="275"/>
                  </a:lnTo>
                  <a:lnTo>
                    <a:pt x="934" y="340"/>
                  </a:lnTo>
                  <a:lnTo>
                    <a:pt x="949" y="407"/>
                  </a:lnTo>
                  <a:lnTo>
                    <a:pt x="954" y="477"/>
                  </a:lnTo>
                  <a:lnTo>
                    <a:pt x="949" y="547"/>
                  </a:lnTo>
                  <a:lnTo>
                    <a:pt x="934" y="613"/>
                  </a:lnTo>
                  <a:lnTo>
                    <a:pt x="910" y="678"/>
                  </a:lnTo>
                  <a:lnTo>
                    <a:pt x="878" y="735"/>
                  </a:lnTo>
                  <a:lnTo>
                    <a:pt x="838" y="789"/>
                  </a:lnTo>
                  <a:lnTo>
                    <a:pt x="790" y="837"/>
                  </a:lnTo>
                  <a:lnTo>
                    <a:pt x="738" y="876"/>
                  </a:lnTo>
                  <a:lnTo>
                    <a:pt x="679" y="909"/>
                  </a:lnTo>
                  <a:lnTo>
                    <a:pt x="616" y="933"/>
                  </a:lnTo>
                  <a:lnTo>
                    <a:pt x="547" y="948"/>
                  </a:lnTo>
                  <a:lnTo>
                    <a:pt x="477" y="953"/>
                  </a:lnTo>
                  <a:lnTo>
                    <a:pt x="407" y="948"/>
                  </a:lnTo>
                  <a:lnTo>
                    <a:pt x="340" y="933"/>
                  </a:lnTo>
                  <a:lnTo>
                    <a:pt x="276" y="909"/>
                  </a:lnTo>
                  <a:lnTo>
                    <a:pt x="218" y="876"/>
                  </a:lnTo>
                  <a:lnTo>
                    <a:pt x="165" y="837"/>
                  </a:lnTo>
                  <a:lnTo>
                    <a:pt x="119" y="789"/>
                  </a:lnTo>
                  <a:lnTo>
                    <a:pt x="78" y="735"/>
                  </a:lnTo>
                  <a:lnTo>
                    <a:pt x="45" y="678"/>
                  </a:lnTo>
                  <a:lnTo>
                    <a:pt x="21" y="613"/>
                  </a:lnTo>
                  <a:lnTo>
                    <a:pt x="6" y="547"/>
                  </a:lnTo>
                  <a:lnTo>
                    <a:pt x="0" y="477"/>
                  </a:lnTo>
                  <a:lnTo>
                    <a:pt x="6" y="407"/>
                  </a:lnTo>
                  <a:lnTo>
                    <a:pt x="21" y="340"/>
                  </a:lnTo>
                  <a:lnTo>
                    <a:pt x="45" y="275"/>
                  </a:lnTo>
                  <a:lnTo>
                    <a:pt x="78" y="218"/>
                  </a:lnTo>
                  <a:lnTo>
                    <a:pt x="119" y="165"/>
                  </a:lnTo>
                  <a:lnTo>
                    <a:pt x="165" y="117"/>
                  </a:lnTo>
                  <a:lnTo>
                    <a:pt x="218" y="78"/>
                  </a:lnTo>
                  <a:lnTo>
                    <a:pt x="276" y="44"/>
                  </a:lnTo>
                  <a:lnTo>
                    <a:pt x="340" y="20"/>
                  </a:lnTo>
                  <a:lnTo>
                    <a:pt x="407" y="6"/>
                  </a:lnTo>
                  <a:lnTo>
                    <a:pt x="477" y="0"/>
                  </a:lnTo>
                  <a:close/>
                </a:path>
              </a:pathLst>
            </a:custGeom>
            <a:solidFill>
              <a:srgbClr val="333333"/>
            </a:solidFill>
            <a:ln w="0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1" name="Freeform 35"/>
            <p:cNvSpPr>
              <a:spLocks/>
            </p:cNvSpPr>
            <p:nvPr/>
          </p:nvSpPr>
          <p:spPr bwMode="auto">
            <a:xfrm>
              <a:off x="3317" y="1397"/>
              <a:ext cx="477" cy="477"/>
            </a:xfrm>
            <a:custGeom>
              <a:avLst/>
              <a:gdLst>
                <a:gd name="T0" fmla="*/ 477 w 954"/>
                <a:gd name="T1" fmla="*/ 0 h 953"/>
                <a:gd name="T2" fmla="*/ 547 w 954"/>
                <a:gd name="T3" fmla="*/ 6 h 953"/>
                <a:gd name="T4" fmla="*/ 615 w 954"/>
                <a:gd name="T5" fmla="*/ 20 h 953"/>
                <a:gd name="T6" fmla="*/ 678 w 954"/>
                <a:gd name="T7" fmla="*/ 44 h 953"/>
                <a:gd name="T8" fmla="*/ 737 w 954"/>
                <a:gd name="T9" fmla="*/ 78 h 953"/>
                <a:gd name="T10" fmla="*/ 791 w 954"/>
                <a:gd name="T11" fmla="*/ 117 h 953"/>
                <a:gd name="T12" fmla="*/ 837 w 954"/>
                <a:gd name="T13" fmla="*/ 165 h 953"/>
                <a:gd name="T14" fmla="*/ 878 w 954"/>
                <a:gd name="T15" fmla="*/ 218 h 953"/>
                <a:gd name="T16" fmla="*/ 909 w 954"/>
                <a:gd name="T17" fmla="*/ 275 h 953"/>
                <a:gd name="T18" fmla="*/ 933 w 954"/>
                <a:gd name="T19" fmla="*/ 340 h 953"/>
                <a:gd name="T20" fmla="*/ 948 w 954"/>
                <a:gd name="T21" fmla="*/ 407 h 953"/>
                <a:gd name="T22" fmla="*/ 954 w 954"/>
                <a:gd name="T23" fmla="*/ 477 h 953"/>
                <a:gd name="T24" fmla="*/ 948 w 954"/>
                <a:gd name="T25" fmla="*/ 547 h 953"/>
                <a:gd name="T26" fmla="*/ 933 w 954"/>
                <a:gd name="T27" fmla="*/ 613 h 953"/>
                <a:gd name="T28" fmla="*/ 909 w 954"/>
                <a:gd name="T29" fmla="*/ 678 h 953"/>
                <a:gd name="T30" fmla="*/ 878 w 954"/>
                <a:gd name="T31" fmla="*/ 735 h 953"/>
                <a:gd name="T32" fmla="*/ 837 w 954"/>
                <a:gd name="T33" fmla="*/ 789 h 953"/>
                <a:gd name="T34" fmla="*/ 791 w 954"/>
                <a:gd name="T35" fmla="*/ 837 h 953"/>
                <a:gd name="T36" fmla="*/ 737 w 954"/>
                <a:gd name="T37" fmla="*/ 876 h 953"/>
                <a:gd name="T38" fmla="*/ 678 w 954"/>
                <a:gd name="T39" fmla="*/ 909 h 953"/>
                <a:gd name="T40" fmla="*/ 615 w 954"/>
                <a:gd name="T41" fmla="*/ 933 h 953"/>
                <a:gd name="T42" fmla="*/ 547 w 954"/>
                <a:gd name="T43" fmla="*/ 948 h 953"/>
                <a:gd name="T44" fmla="*/ 477 w 954"/>
                <a:gd name="T45" fmla="*/ 953 h 953"/>
                <a:gd name="T46" fmla="*/ 406 w 954"/>
                <a:gd name="T47" fmla="*/ 948 h 953"/>
                <a:gd name="T48" fmla="*/ 340 w 954"/>
                <a:gd name="T49" fmla="*/ 933 h 953"/>
                <a:gd name="T50" fmla="*/ 277 w 954"/>
                <a:gd name="T51" fmla="*/ 909 h 953"/>
                <a:gd name="T52" fmla="*/ 218 w 954"/>
                <a:gd name="T53" fmla="*/ 876 h 953"/>
                <a:gd name="T54" fmla="*/ 164 w 954"/>
                <a:gd name="T55" fmla="*/ 837 h 953"/>
                <a:gd name="T56" fmla="*/ 118 w 954"/>
                <a:gd name="T57" fmla="*/ 789 h 953"/>
                <a:gd name="T58" fmla="*/ 77 w 954"/>
                <a:gd name="T59" fmla="*/ 735 h 953"/>
                <a:gd name="T60" fmla="*/ 44 w 954"/>
                <a:gd name="T61" fmla="*/ 678 h 953"/>
                <a:gd name="T62" fmla="*/ 20 w 954"/>
                <a:gd name="T63" fmla="*/ 613 h 953"/>
                <a:gd name="T64" fmla="*/ 5 w 954"/>
                <a:gd name="T65" fmla="*/ 547 h 953"/>
                <a:gd name="T66" fmla="*/ 0 w 954"/>
                <a:gd name="T67" fmla="*/ 477 h 953"/>
                <a:gd name="T68" fmla="*/ 5 w 954"/>
                <a:gd name="T69" fmla="*/ 407 h 953"/>
                <a:gd name="T70" fmla="*/ 20 w 954"/>
                <a:gd name="T71" fmla="*/ 340 h 953"/>
                <a:gd name="T72" fmla="*/ 44 w 954"/>
                <a:gd name="T73" fmla="*/ 275 h 953"/>
                <a:gd name="T74" fmla="*/ 77 w 954"/>
                <a:gd name="T75" fmla="*/ 218 h 953"/>
                <a:gd name="T76" fmla="*/ 118 w 954"/>
                <a:gd name="T77" fmla="*/ 165 h 953"/>
                <a:gd name="T78" fmla="*/ 164 w 954"/>
                <a:gd name="T79" fmla="*/ 117 h 953"/>
                <a:gd name="T80" fmla="*/ 218 w 954"/>
                <a:gd name="T81" fmla="*/ 78 h 953"/>
                <a:gd name="T82" fmla="*/ 277 w 954"/>
                <a:gd name="T83" fmla="*/ 44 h 953"/>
                <a:gd name="T84" fmla="*/ 340 w 954"/>
                <a:gd name="T85" fmla="*/ 20 h 953"/>
                <a:gd name="T86" fmla="*/ 406 w 954"/>
                <a:gd name="T87" fmla="*/ 6 h 953"/>
                <a:gd name="T88" fmla="*/ 477 w 954"/>
                <a:gd name="T89" fmla="*/ 0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54" h="953">
                  <a:moveTo>
                    <a:pt x="477" y="0"/>
                  </a:moveTo>
                  <a:lnTo>
                    <a:pt x="547" y="6"/>
                  </a:lnTo>
                  <a:lnTo>
                    <a:pt x="615" y="20"/>
                  </a:lnTo>
                  <a:lnTo>
                    <a:pt x="678" y="44"/>
                  </a:lnTo>
                  <a:lnTo>
                    <a:pt x="737" y="78"/>
                  </a:lnTo>
                  <a:lnTo>
                    <a:pt x="791" y="117"/>
                  </a:lnTo>
                  <a:lnTo>
                    <a:pt x="837" y="165"/>
                  </a:lnTo>
                  <a:lnTo>
                    <a:pt x="878" y="218"/>
                  </a:lnTo>
                  <a:lnTo>
                    <a:pt x="909" y="275"/>
                  </a:lnTo>
                  <a:lnTo>
                    <a:pt x="933" y="340"/>
                  </a:lnTo>
                  <a:lnTo>
                    <a:pt x="948" y="407"/>
                  </a:lnTo>
                  <a:lnTo>
                    <a:pt x="954" y="477"/>
                  </a:lnTo>
                  <a:lnTo>
                    <a:pt x="948" y="547"/>
                  </a:lnTo>
                  <a:lnTo>
                    <a:pt x="933" y="613"/>
                  </a:lnTo>
                  <a:lnTo>
                    <a:pt x="909" y="678"/>
                  </a:lnTo>
                  <a:lnTo>
                    <a:pt x="878" y="735"/>
                  </a:lnTo>
                  <a:lnTo>
                    <a:pt x="837" y="789"/>
                  </a:lnTo>
                  <a:lnTo>
                    <a:pt x="791" y="837"/>
                  </a:lnTo>
                  <a:lnTo>
                    <a:pt x="737" y="876"/>
                  </a:lnTo>
                  <a:lnTo>
                    <a:pt x="678" y="909"/>
                  </a:lnTo>
                  <a:lnTo>
                    <a:pt x="615" y="933"/>
                  </a:lnTo>
                  <a:lnTo>
                    <a:pt x="547" y="948"/>
                  </a:lnTo>
                  <a:lnTo>
                    <a:pt x="477" y="953"/>
                  </a:lnTo>
                  <a:lnTo>
                    <a:pt x="406" y="948"/>
                  </a:lnTo>
                  <a:lnTo>
                    <a:pt x="340" y="933"/>
                  </a:lnTo>
                  <a:lnTo>
                    <a:pt x="277" y="909"/>
                  </a:lnTo>
                  <a:lnTo>
                    <a:pt x="218" y="876"/>
                  </a:lnTo>
                  <a:lnTo>
                    <a:pt x="164" y="837"/>
                  </a:lnTo>
                  <a:lnTo>
                    <a:pt x="118" y="789"/>
                  </a:lnTo>
                  <a:lnTo>
                    <a:pt x="77" y="735"/>
                  </a:lnTo>
                  <a:lnTo>
                    <a:pt x="44" y="678"/>
                  </a:lnTo>
                  <a:lnTo>
                    <a:pt x="20" y="613"/>
                  </a:lnTo>
                  <a:lnTo>
                    <a:pt x="5" y="547"/>
                  </a:lnTo>
                  <a:lnTo>
                    <a:pt x="0" y="477"/>
                  </a:lnTo>
                  <a:lnTo>
                    <a:pt x="5" y="407"/>
                  </a:lnTo>
                  <a:lnTo>
                    <a:pt x="20" y="340"/>
                  </a:lnTo>
                  <a:lnTo>
                    <a:pt x="44" y="275"/>
                  </a:lnTo>
                  <a:lnTo>
                    <a:pt x="77" y="218"/>
                  </a:lnTo>
                  <a:lnTo>
                    <a:pt x="118" y="165"/>
                  </a:lnTo>
                  <a:lnTo>
                    <a:pt x="164" y="117"/>
                  </a:lnTo>
                  <a:lnTo>
                    <a:pt x="218" y="78"/>
                  </a:lnTo>
                  <a:lnTo>
                    <a:pt x="277" y="44"/>
                  </a:lnTo>
                  <a:lnTo>
                    <a:pt x="340" y="20"/>
                  </a:lnTo>
                  <a:lnTo>
                    <a:pt x="406" y="6"/>
                  </a:lnTo>
                  <a:lnTo>
                    <a:pt x="477" y="0"/>
                  </a:lnTo>
                  <a:close/>
                </a:path>
              </a:pathLst>
            </a:custGeom>
            <a:solidFill>
              <a:srgbClr val="333333"/>
            </a:solidFill>
            <a:ln w="0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57263"/>
              <a:endParaRPr lang="en-US" sz="19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77500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3 key deliverab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010313" y="4670323"/>
            <a:ext cx="9947086" cy="835742"/>
            <a:chOff x="-159410" y="3873910"/>
            <a:chExt cx="9071462" cy="835742"/>
          </a:xfrm>
        </p:grpSpPr>
        <p:sp>
          <p:nvSpPr>
            <p:cNvPr id="4" name="Rectangle 3"/>
            <p:cNvSpPr/>
            <p:nvPr/>
          </p:nvSpPr>
          <p:spPr>
            <a:xfrm>
              <a:off x="-159410" y="3873910"/>
              <a:ext cx="2546555" cy="8357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2"/>
                  </a:solidFill>
                </a:rPr>
                <a:t>1.</a:t>
              </a:r>
              <a:r>
                <a:rPr lang="en-US" sz="1600" b="1">
                  <a:solidFill>
                    <a:schemeClr val="tx1"/>
                  </a:solidFill>
                </a:rPr>
                <a:t> Identified value streams &amp; associated KPIs</a:t>
              </a:r>
            </a:p>
          </p:txBody>
        </p:sp>
        <p:sp>
          <p:nvSpPr>
            <p:cNvPr id="5" name="Rectangle 4"/>
            <p:cNvSpPr/>
            <p:nvPr/>
          </p:nvSpPr>
          <p:spPr>
            <a:xfrm>
              <a:off x="3205316" y="3873910"/>
              <a:ext cx="2546555" cy="8357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2"/>
                  </a:solidFill>
                </a:rPr>
                <a:t>2.</a:t>
              </a:r>
              <a:r>
                <a:rPr lang="en-US" sz="1600" b="1">
                  <a:solidFill>
                    <a:schemeClr val="tx1"/>
                  </a:solidFill>
                </a:rPr>
                <a:t> Benefits &amp; costs matrix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6365497" y="3873910"/>
              <a:ext cx="2546555" cy="8357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2"/>
                  </a:solidFill>
                </a:rPr>
                <a:t>3. </a:t>
              </a:r>
              <a:r>
                <a:rPr lang="en-US" sz="1600" b="1">
                  <a:solidFill>
                    <a:schemeClr val="tx1"/>
                  </a:solidFill>
                </a:rPr>
                <a:t>Benefits &amp; costs quantification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2D690F0-890D-49C4-977B-48AF5BC458B3}"/>
              </a:ext>
            </a:extLst>
          </p:cNvPr>
          <p:cNvGrpSpPr/>
          <p:nvPr/>
        </p:nvGrpSpPr>
        <p:grpSpPr>
          <a:xfrm>
            <a:off x="543448" y="1725282"/>
            <a:ext cx="3559836" cy="2652725"/>
            <a:chOff x="2043640" y="2445979"/>
            <a:chExt cx="2592695" cy="1932029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043640" y="2488007"/>
              <a:ext cx="2520001" cy="1890001"/>
            </a:xfrm>
            <a:prstGeom prst="rect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</p:pic>
        <p:sp>
          <p:nvSpPr>
            <p:cNvPr id="17" name="Rectangle 16"/>
            <p:cNvSpPr/>
            <p:nvPr/>
          </p:nvSpPr>
          <p:spPr>
            <a:xfrm>
              <a:off x="3283973" y="2445979"/>
              <a:ext cx="1352362" cy="3244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>
                      <a:lumMod val="40000"/>
                      <a:lumOff val="60000"/>
                    </a:schemeClr>
                  </a:solidFill>
                </a:rPr>
                <a:t>ILLUSTRATION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6D500D0-95B6-410A-8371-8CBCEA77A25C}"/>
              </a:ext>
            </a:extLst>
          </p:cNvPr>
          <p:cNvGrpSpPr/>
          <p:nvPr/>
        </p:nvGrpSpPr>
        <p:grpSpPr>
          <a:xfrm>
            <a:off x="4223880" y="1722779"/>
            <a:ext cx="3557880" cy="2655228"/>
            <a:chOff x="4836000" y="2445979"/>
            <a:chExt cx="2588826" cy="1932028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36000" y="2488007"/>
              <a:ext cx="2520000" cy="1890000"/>
            </a:xfrm>
            <a:prstGeom prst="rect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</p:pic>
        <p:sp>
          <p:nvSpPr>
            <p:cNvPr id="18" name="Rectangle 17"/>
            <p:cNvSpPr/>
            <p:nvPr/>
          </p:nvSpPr>
          <p:spPr>
            <a:xfrm>
              <a:off x="6072464" y="2445979"/>
              <a:ext cx="1352362" cy="3244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>
                      <a:lumMod val="40000"/>
                      <a:lumOff val="60000"/>
                    </a:schemeClr>
                  </a:solidFill>
                </a:rPr>
                <a:t>ILLUSTRATION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12CE6FB-8096-49AF-A07C-C3DE8FE89303}"/>
              </a:ext>
            </a:extLst>
          </p:cNvPr>
          <p:cNvGrpSpPr/>
          <p:nvPr/>
        </p:nvGrpSpPr>
        <p:grpSpPr>
          <a:xfrm>
            <a:off x="7906811" y="1780539"/>
            <a:ext cx="3741741" cy="2597468"/>
            <a:chOff x="7628361" y="2488007"/>
            <a:chExt cx="2722609" cy="1890000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628361" y="2488007"/>
              <a:ext cx="2160000" cy="1620000"/>
            </a:xfrm>
            <a:prstGeom prst="rect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988361" y="2758007"/>
              <a:ext cx="2160000" cy="1620000"/>
            </a:xfrm>
            <a:prstGeom prst="rect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</p:pic>
        <p:sp>
          <p:nvSpPr>
            <p:cNvPr id="19" name="Rectangle 18"/>
            <p:cNvSpPr/>
            <p:nvPr/>
          </p:nvSpPr>
          <p:spPr>
            <a:xfrm>
              <a:off x="8998608" y="2708845"/>
              <a:ext cx="1352362" cy="3244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>
                  <a:solidFill>
                    <a:schemeClr val="tx1">
                      <a:lumMod val="40000"/>
                      <a:lumOff val="60000"/>
                    </a:schemeClr>
                  </a:solidFill>
                </a:rPr>
                <a:t>ILLUST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793331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grayscl/>
          </a:blip>
          <a:stretch>
            <a:fillRect/>
          </a:stretch>
        </p:blipFill>
        <p:spPr>
          <a:xfrm>
            <a:off x="1814411" y="1730973"/>
            <a:ext cx="5466737" cy="4100053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Deliverable #1: Identified value stream and associated KPIs</a:t>
            </a:r>
          </a:p>
        </p:txBody>
      </p:sp>
      <p:sp>
        <p:nvSpPr>
          <p:cNvPr id="5" name="Rectangle 4"/>
          <p:cNvSpPr/>
          <p:nvPr/>
        </p:nvSpPr>
        <p:spPr>
          <a:xfrm>
            <a:off x="2113937" y="2497395"/>
            <a:ext cx="1229160" cy="2861187"/>
          </a:xfrm>
          <a:prstGeom prst="rect">
            <a:avLst/>
          </a:prstGeom>
          <a:noFill/>
          <a:ln>
            <a:solidFill>
              <a:schemeClr val="bg2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3431458" y="2497395"/>
            <a:ext cx="3476065" cy="2861187"/>
          </a:xfrm>
          <a:prstGeom prst="rect">
            <a:avLst/>
          </a:prstGeom>
          <a:noFill/>
          <a:ln>
            <a:solidFill>
              <a:schemeClr val="bg2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1951937" y="2335394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6745522" y="2335394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4" name="Oval 13"/>
          <p:cNvSpPr/>
          <p:nvPr/>
        </p:nvSpPr>
        <p:spPr>
          <a:xfrm>
            <a:off x="7534907" y="2593984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5" name="Oval 14"/>
          <p:cNvSpPr/>
          <p:nvPr/>
        </p:nvSpPr>
        <p:spPr>
          <a:xfrm>
            <a:off x="7534907" y="4644011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2</a:t>
            </a:r>
          </a:p>
        </p:txBody>
      </p:sp>
      <p:cxnSp>
        <p:nvCxnSpPr>
          <p:cNvPr id="17" name="Straight Connector 16"/>
          <p:cNvCxnSpPr/>
          <p:nvPr/>
        </p:nvCxnSpPr>
        <p:spPr>
          <a:xfrm flipV="1">
            <a:off x="7420668" y="1957008"/>
            <a:ext cx="0" cy="3647983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7812682" y="1730972"/>
            <a:ext cx="2497265" cy="2050027"/>
          </a:xfrm>
          <a:prstGeom prst="rect">
            <a:avLst/>
          </a:prstGeom>
          <a:noFill/>
        </p:spPr>
        <p:txBody>
          <a:bodyPr wrap="square" lIns="144000" rtlCol="0" anchor="ctr">
            <a:noAutofit/>
          </a:bodyPr>
          <a:lstStyle/>
          <a:p>
            <a:r>
              <a:rPr lang="en-US" sz="1400"/>
              <a:t>Identification of the </a:t>
            </a:r>
            <a:r>
              <a:rPr lang="en-US" sz="1400">
                <a:solidFill>
                  <a:schemeClr val="bg2"/>
                </a:solidFill>
              </a:rPr>
              <a:t>value brought the different stakeholders</a:t>
            </a:r>
            <a:r>
              <a:rPr lang="en-US" sz="1400"/>
              <a:t> (internal and external) by the considered use cas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812682" y="3780999"/>
            <a:ext cx="2497265" cy="2050027"/>
          </a:xfrm>
          <a:prstGeom prst="rect">
            <a:avLst/>
          </a:prstGeom>
          <a:noFill/>
        </p:spPr>
        <p:txBody>
          <a:bodyPr wrap="square" lIns="144000" rtlCol="0" anchor="ctr">
            <a:noAutofit/>
          </a:bodyPr>
          <a:lstStyle/>
          <a:p>
            <a:r>
              <a:rPr lang="en-US" sz="1400"/>
              <a:t>For each of the stakeholders, finding of:</a:t>
            </a:r>
          </a:p>
          <a:p>
            <a:pPr marL="285750" indent="-285750">
              <a:buFont typeface="Arial" panose="020B0604020202020204" pitchFamily="34" charset="0"/>
              <a:buChar char="‒"/>
            </a:pPr>
            <a:r>
              <a:rPr lang="en-US" sz="1400"/>
              <a:t>The </a:t>
            </a:r>
            <a:r>
              <a:rPr lang="en-US" sz="1400">
                <a:solidFill>
                  <a:schemeClr val="bg2"/>
                </a:solidFill>
              </a:rPr>
              <a:t>impacts of the value brought</a:t>
            </a:r>
          </a:p>
          <a:p>
            <a:pPr marL="285750" indent="-285750">
              <a:buFont typeface="Arial" panose="020B0604020202020204" pitchFamily="34" charset="0"/>
              <a:buChar char="‒"/>
            </a:pPr>
            <a:r>
              <a:rPr lang="en-US" sz="1400"/>
              <a:t>The </a:t>
            </a:r>
            <a:r>
              <a:rPr lang="en-US" sz="1400">
                <a:solidFill>
                  <a:schemeClr val="bg2"/>
                </a:solidFill>
              </a:rPr>
              <a:t>KPIs enabling the measure them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299588" y="1848464"/>
            <a:ext cx="1868129" cy="324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</a:rPr>
              <a:t>ILLUSTRATION</a:t>
            </a:r>
          </a:p>
        </p:txBody>
      </p:sp>
    </p:spTree>
    <p:extLst>
      <p:ext uri="{BB962C8B-B14F-4D97-AF65-F5344CB8AC3E}">
        <p14:creationId xmlns:p14="http://schemas.microsoft.com/office/powerpoint/2010/main" val="3284857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86187" y="1685924"/>
            <a:ext cx="7815262" cy="46258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250000"/>
              </a:lnSpc>
              <a:buAutoNum type="arabicPeriod"/>
            </a:pPr>
            <a:r>
              <a:rPr lang="fr-FR" err="1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view</a:t>
            </a:r>
            <a:r>
              <a:rPr lang="fr-FR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of </a:t>
            </a:r>
            <a:r>
              <a:rPr lang="fr-FR" err="1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gress</a:t>
            </a:r>
            <a:r>
              <a:rPr lang="fr-FR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mad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 b="1">
                <a:solidFill>
                  <a:srgbClr val="22759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XPath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ing with </a:t>
            </a:r>
            <a:r>
              <a:rPr lang="en-US" err="1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y</a:t>
            </a:r>
            <a:endParaRPr lang="en-US">
              <a:solidFill>
                <a:schemeClr val="tx1">
                  <a:lumMod val="50000"/>
                  <a:lumOff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PI’s at a glanc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Business Cas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mmary of the session</a:t>
            </a:r>
          </a:p>
          <a:p>
            <a:pPr marL="342900" indent="-342900">
              <a:lnSpc>
                <a:spcPct val="20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 next week...</a:t>
            </a:r>
            <a:endParaRPr lang="fr-FR">
              <a:solidFill>
                <a:schemeClr val="tx1">
                  <a:lumMod val="50000"/>
                  <a:lumOff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409089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0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grayscl/>
          </a:blip>
          <a:stretch>
            <a:fillRect/>
          </a:stretch>
        </p:blipFill>
        <p:spPr>
          <a:xfrm>
            <a:off x="1814410" y="1730973"/>
            <a:ext cx="5466737" cy="4100053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liverable #2: Benefits and costs matrix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660488" y="2659395"/>
            <a:ext cx="2347200" cy="2404219"/>
          </a:xfrm>
          <a:prstGeom prst="rect">
            <a:avLst/>
          </a:prstGeom>
          <a:noFill/>
          <a:ln>
            <a:solidFill>
              <a:schemeClr val="bg2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6842775" y="2497395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3" name="Oval 22"/>
          <p:cNvSpPr/>
          <p:nvPr/>
        </p:nvSpPr>
        <p:spPr>
          <a:xfrm>
            <a:off x="7534907" y="2593984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4" name="Oval 23"/>
          <p:cNvSpPr/>
          <p:nvPr/>
        </p:nvSpPr>
        <p:spPr>
          <a:xfrm>
            <a:off x="7534907" y="4644011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812682" y="1730972"/>
            <a:ext cx="2497265" cy="2050027"/>
          </a:xfrm>
          <a:prstGeom prst="rect">
            <a:avLst/>
          </a:prstGeom>
          <a:noFill/>
        </p:spPr>
        <p:txBody>
          <a:bodyPr wrap="square" lIns="144000" rtlCol="0" anchor="ctr">
            <a:noAutofit/>
          </a:bodyPr>
          <a:lstStyle/>
          <a:p>
            <a:r>
              <a:rPr lang="en-US" sz="1400"/>
              <a:t>Identification of the </a:t>
            </a:r>
            <a:r>
              <a:rPr lang="en-US" sz="1400">
                <a:solidFill>
                  <a:schemeClr val="bg2"/>
                </a:solidFill>
              </a:rPr>
              <a:t>directly quantifiable benefits and costs </a:t>
            </a:r>
            <a:r>
              <a:rPr lang="en-US" sz="1400"/>
              <a:t>(e.g. additional sales in volume, cross / up-sell, implementation and roll-out costs…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812682" y="3780999"/>
            <a:ext cx="2497265" cy="2050027"/>
          </a:xfrm>
          <a:prstGeom prst="rect">
            <a:avLst/>
          </a:prstGeom>
          <a:noFill/>
        </p:spPr>
        <p:txBody>
          <a:bodyPr wrap="square" lIns="144000" rtlCol="0" anchor="ctr">
            <a:noAutofit/>
          </a:bodyPr>
          <a:lstStyle/>
          <a:p>
            <a:r>
              <a:rPr lang="en-US" sz="1400"/>
              <a:t>Identification of the </a:t>
            </a:r>
            <a:r>
              <a:rPr lang="en-US" sz="1400">
                <a:solidFill>
                  <a:schemeClr val="bg2"/>
                </a:solidFill>
              </a:rPr>
              <a:t>benefits and costs that are not directly quantifiable </a:t>
            </a:r>
            <a:r>
              <a:rPr lang="en-US" sz="1400"/>
              <a:t>(e.g. engagement, satisfaction, brand image, technological risks…)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082106" y="2659395"/>
            <a:ext cx="2520000" cy="2404219"/>
          </a:xfrm>
          <a:prstGeom prst="rect">
            <a:avLst/>
          </a:prstGeom>
          <a:noFill/>
          <a:ln>
            <a:solidFill>
              <a:schemeClr val="bg2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/>
        </p:nvSpPr>
        <p:spPr>
          <a:xfrm>
            <a:off x="1925729" y="2497395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299588" y="1848464"/>
            <a:ext cx="1868129" cy="324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</a:rPr>
              <a:t>ILLUSTRATION</a:t>
            </a:r>
          </a:p>
        </p:txBody>
      </p:sp>
      <p:cxnSp>
        <p:nvCxnSpPr>
          <p:cNvPr id="31" name="Straight Connector 30"/>
          <p:cNvCxnSpPr/>
          <p:nvPr/>
        </p:nvCxnSpPr>
        <p:spPr>
          <a:xfrm flipV="1">
            <a:off x="7420668" y="1957008"/>
            <a:ext cx="0" cy="3647983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195715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grayscl/>
          </a:blip>
          <a:stretch>
            <a:fillRect/>
          </a:stretch>
        </p:blipFill>
        <p:spPr>
          <a:xfrm>
            <a:off x="3681146" y="3131025"/>
            <a:ext cx="3600000" cy="2700001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liverable #3: Benefits and costs quantification</a:t>
            </a:r>
          </a:p>
        </p:txBody>
      </p:sp>
      <p:sp>
        <p:nvSpPr>
          <p:cNvPr id="23" name="Oval 22"/>
          <p:cNvSpPr/>
          <p:nvPr/>
        </p:nvSpPr>
        <p:spPr>
          <a:xfrm>
            <a:off x="7534907" y="1959866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4" name="Oval 23"/>
          <p:cNvSpPr/>
          <p:nvPr/>
        </p:nvSpPr>
        <p:spPr>
          <a:xfrm>
            <a:off x="7534907" y="3607882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000335" y="3071141"/>
            <a:ext cx="1476000" cy="324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>
                    <a:lumMod val="40000"/>
                    <a:lumOff val="60000"/>
                  </a:schemeClr>
                </a:solidFill>
              </a:rPr>
              <a:t>ILLUSTRATION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897250" y="3625239"/>
            <a:ext cx="3208963" cy="1836000"/>
          </a:xfrm>
          <a:prstGeom prst="rect">
            <a:avLst/>
          </a:prstGeom>
          <a:noFill/>
          <a:ln>
            <a:solidFill>
              <a:schemeClr val="bg2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6927650" y="3470249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grayscl/>
          </a:blip>
          <a:stretch>
            <a:fillRect/>
          </a:stretch>
        </p:blipFill>
        <p:spPr>
          <a:xfrm>
            <a:off x="1814409" y="1730973"/>
            <a:ext cx="3600000" cy="2700000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</p:pic>
      <p:sp>
        <p:nvSpPr>
          <p:cNvPr id="14" name="Rectangle 13"/>
          <p:cNvSpPr/>
          <p:nvPr/>
        </p:nvSpPr>
        <p:spPr>
          <a:xfrm>
            <a:off x="4129318" y="1647489"/>
            <a:ext cx="1476000" cy="324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>
                    <a:lumMod val="40000"/>
                    <a:lumOff val="60000"/>
                  </a:schemeClr>
                </a:solidFill>
              </a:rPr>
              <a:t>ILLUSTRATION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951953" y="2333664"/>
            <a:ext cx="1620000" cy="1836000"/>
          </a:xfrm>
          <a:prstGeom prst="rect">
            <a:avLst/>
          </a:prstGeom>
          <a:noFill/>
          <a:ln>
            <a:solidFill>
              <a:schemeClr val="bg2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/>
        </p:nvSpPr>
        <p:spPr>
          <a:xfrm>
            <a:off x="1795576" y="2161832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619476" y="2333664"/>
            <a:ext cx="1620000" cy="1836000"/>
          </a:xfrm>
          <a:prstGeom prst="rect">
            <a:avLst/>
          </a:prstGeom>
          <a:noFill/>
          <a:ln>
            <a:solidFill>
              <a:schemeClr val="bg2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5076016" y="2161832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2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812682" y="1297859"/>
            <a:ext cx="2497265" cy="4945625"/>
            <a:chOff x="6288681" y="1730971"/>
            <a:chExt cx="2497265" cy="6152042"/>
          </a:xfrm>
        </p:grpSpPr>
        <p:sp>
          <p:nvSpPr>
            <p:cNvPr id="26" name="TextBox 25"/>
            <p:cNvSpPr txBox="1"/>
            <p:nvPr/>
          </p:nvSpPr>
          <p:spPr>
            <a:xfrm>
              <a:off x="6288681" y="1730971"/>
              <a:ext cx="2497265" cy="2050027"/>
            </a:xfrm>
            <a:prstGeom prst="rect">
              <a:avLst/>
            </a:prstGeom>
            <a:noFill/>
          </p:spPr>
          <p:txBody>
            <a:bodyPr wrap="square" lIns="144000" rtlCol="0" anchor="ctr">
              <a:noAutofit/>
            </a:bodyPr>
            <a:lstStyle/>
            <a:p>
              <a:r>
                <a:rPr lang="en-US" sz="1400">
                  <a:solidFill>
                    <a:schemeClr val="bg2"/>
                  </a:solidFill>
                </a:rPr>
                <a:t>Baseline identification &amp; quantification</a:t>
              </a:r>
              <a:r>
                <a:rPr lang="en-US" sz="1400"/>
                <a:t> (modeling of as-is revenue / cost structures if nothing changes)</a:t>
              </a:r>
              <a:endParaRPr lang="en-US" sz="1400" i="1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288681" y="3781978"/>
              <a:ext cx="2497265" cy="2050027"/>
            </a:xfrm>
            <a:prstGeom prst="rect">
              <a:avLst/>
            </a:prstGeom>
            <a:noFill/>
          </p:spPr>
          <p:txBody>
            <a:bodyPr wrap="square" lIns="144000" rtlCol="0" anchor="ctr">
              <a:noAutofit/>
            </a:bodyPr>
            <a:lstStyle/>
            <a:p>
              <a:r>
                <a:rPr lang="en-US" sz="1400">
                  <a:solidFill>
                    <a:schemeClr val="bg2"/>
                  </a:solidFill>
                </a:rPr>
                <a:t>Impacts of the use case</a:t>
              </a:r>
              <a:r>
                <a:rPr lang="en-US" sz="1400"/>
                <a:t> – assumptions and impacted baseline</a:t>
              </a:r>
              <a:endParaRPr lang="en-US" sz="1400">
                <a:solidFill>
                  <a:schemeClr val="bg2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288681" y="5832986"/>
              <a:ext cx="2497265" cy="2050027"/>
            </a:xfrm>
            <a:prstGeom prst="rect">
              <a:avLst/>
            </a:prstGeom>
            <a:noFill/>
          </p:spPr>
          <p:txBody>
            <a:bodyPr wrap="square" lIns="144000" rtlCol="0" anchor="ctr">
              <a:noAutofit/>
            </a:bodyPr>
            <a:lstStyle/>
            <a:p>
              <a:r>
                <a:rPr lang="en-US" sz="1400">
                  <a:solidFill>
                    <a:schemeClr val="bg2"/>
                  </a:solidFill>
                </a:rPr>
                <a:t>Overall impacts on costs and revenues</a:t>
              </a:r>
              <a:r>
                <a:rPr lang="en-US" sz="1400"/>
                <a:t> (difference between impacted baseline and initial baseline)</a:t>
              </a:r>
            </a:p>
          </p:txBody>
        </p:sp>
      </p:grpSp>
      <p:sp>
        <p:nvSpPr>
          <p:cNvPr id="34" name="Oval 33"/>
          <p:cNvSpPr/>
          <p:nvPr/>
        </p:nvSpPr>
        <p:spPr>
          <a:xfrm>
            <a:off x="7534907" y="5250981"/>
            <a:ext cx="324000" cy="324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35" name="Straight Connector 34"/>
          <p:cNvCxnSpPr/>
          <p:nvPr/>
        </p:nvCxnSpPr>
        <p:spPr>
          <a:xfrm flipV="1">
            <a:off x="7420668" y="1957008"/>
            <a:ext cx="0" cy="3647983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814652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Object 8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0" name="Object 8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309" y="134938"/>
            <a:ext cx="10305691" cy="715962"/>
          </a:xfrm>
        </p:spPr>
        <p:txBody>
          <a:bodyPr>
            <a:noAutofit/>
          </a:bodyPr>
          <a:lstStyle/>
          <a:p>
            <a:r>
              <a:rPr lang="en-US" sz="3600"/>
              <a:t>Hands-on: Value &amp; KPIs and benefits</a:t>
            </a:r>
            <a:br>
              <a:rPr lang="en-US" sz="3600"/>
            </a:br>
            <a:r>
              <a:rPr lang="en-US" sz="3600"/>
              <a:t>&amp; costs matrix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0329905" y="850900"/>
            <a:ext cx="1378839" cy="576000"/>
            <a:chOff x="7373919" y="255745"/>
            <a:chExt cx="1378839" cy="576000"/>
          </a:xfrm>
        </p:grpSpPr>
        <p:grpSp>
          <p:nvGrpSpPr>
            <p:cNvPr id="12" name="Group 11"/>
            <p:cNvGrpSpPr/>
            <p:nvPr/>
          </p:nvGrpSpPr>
          <p:grpSpPr>
            <a:xfrm>
              <a:off x="7384607" y="312912"/>
              <a:ext cx="1368151" cy="461665"/>
              <a:chOff x="1098030" y="5226607"/>
              <a:chExt cx="1368151" cy="461665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 rotWithShape="1">
              <a:blip r:embed="rId6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4300"/>
              <a:stretch/>
            </p:blipFill>
            <p:spPr>
              <a:xfrm>
                <a:off x="1098030" y="5245026"/>
                <a:ext cx="504087" cy="432000"/>
              </a:xfrm>
              <a:prstGeom prst="rect">
                <a:avLst/>
              </a:prstGeom>
            </p:spPr>
          </p:pic>
          <p:sp>
            <p:nvSpPr>
              <p:cNvPr id="14" name="TextBox 13"/>
              <p:cNvSpPr txBox="1"/>
              <p:nvPr/>
            </p:nvSpPr>
            <p:spPr bwMode="auto">
              <a:xfrm>
                <a:off x="1707554" y="5226607"/>
                <a:ext cx="758627" cy="4616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2400" b="1">
                    <a:solidFill>
                      <a:srgbClr val="941E3B"/>
                    </a:solidFill>
                    <a:latin typeface="Calibri" pitchFamily="34" charset="0"/>
                    <a:cs typeface="Calibri" pitchFamily="34" charset="0"/>
                  </a:rPr>
                  <a:t>30’</a:t>
                </a:r>
              </a:p>
            </p:txBody>
          </p:sp>
        </p:grpSp>
        <p:sp>
          <p:nvSpPr>
            <p:cNvPr id="15" name="Rounded Rectangle 14"/>
            <p:cNvSpPr/>
            <p:nvPr/>
          </p:nvSpPr>
          <p:spPr>
            <a:xfrm>
              <a:off x="7373919" y="255745"/>
              <a:ext cx="1368000" cy="576000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839" y="2335799"/>
            <a:ext cx="3550325" cy="355032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368550" y="1308100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bg2"/>
                </a:solidFill>
              </a:rPr>
              <a:t>Identify the value generated by this use case (for aftersales) and associated KPIs</a:t>
            </a:r>
          </a:p>
          <a:p>
            <a:pPr algn="ctr"/>
            <a:r>
              <a:rPr lang="en-US" sz="2400">
                <a:solidFill>
                  <a:schemeClr val="bg2"/>
                </a:solidFill>
              </a:rPr>
              <a:t>Fill-in the benefits &amp; costs matrix for this use case</a:t>
            </a:r>
          </a:p>
        </p:txBody>
      </p:sp>
    </p:spTree>
    <p:extLst>
      <p:ext uri="{BB962C8B-B14F-4D97-AF65-F5344CB8AC3E}">
        <p14:creationId xmlns:p14="http://schemas.microsoft.com/office/powerpoint/2010/main" val="400709126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dentified value and KPI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9203" y="5010510"/>
            <a:ext cx="416571" cy="41657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652" y="1753793"/>
            <a:ext cx="523674" cy="523674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918" y="3316137"/>
            <a:ext cx="509143" cy="509143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18" name="Group 17"/>
          <p:cNvGrpSpPr/>
          <p:nvPr/>
        </p:nvGrpSpPr>
        <p:grpSpPr>
          <a:xfrm>
            <a:off x="2103488" y="1306651"/>
            <a:ext cx="7898468" cy="4966331"/>
            <a:chOff x="579488" y="1336989"/>
            <a:chExt cx="7898468" cy="4653462"/>
          </a:xfrm>
        </p:grpSpPr>
        <p:sp>
          <p:nvSpPr>
            <p:cNvPr id="8" name="Rectangle 7"/>
            <p:cNvSpPr/>
            <p:nvPr/>
          </p:nvSpPr>
          <p:spPr bwMode="auto">
            <a:xfrm>
              <a:off x="1277953" y="1336989"/>
              <a:ext cx="1363648" cy="135728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0000"/>
                </a:buClr>
              </a:pPr>
              <a:r>
                <a:rPr lang="en-US" sz="1200" b="1">
                  <a:solidFill>
                    <a:srgbClr val="009AC7"/>
                  </a:solidFill>
                </a:rPr>
                <a:t>Xxx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2641601" y="1336989"/>
              <a:ext cx="5836355" cy="135728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80975" indent="-180975">
                <a:spcBef>
                  <a:spcPts val="300"/>
                </a:spcBef>
                <a:buClr>
                  <a:srgbClr val="505150"/>
                </a:buClr>
                <a:buFont typeface="Arial" pitchFamily="34" charset="0"/>
                <a:buChar char="•"/>
              </a:pPr>
              <a:r>
                <a:rPr lang="en-US" sz="1200" b="1">
                  <a:solidFill>
                    <a:srgbClr val="505150"/>
                  </a:solidFill>
                </a:rPr>
                <a:t>Xxx</a:t>
              </a:r>
              <a:br>
                <a:rPr lang="en-US" sz="1200" b="1">
                  <a:solidFill>
                    <a:srgbClr val="505150"/>
                  </a:solidFill>
                </a:rPr>
              </a:br>
              <a:r>
                <a:rPr lang="en-US" sz="1200" err="1">
                  <a:solidFill>
                    <a:srgbClr val="505150">
                      <a:lumMod val="60000"/>
                      <a:lumOff val="40000"/>
                    </a:srgbClr>
                  </a:solidFill>
                </a:rPr>
                <a:t>Xxx</a:t>
              </a:r>
              <a:endParaRPr lang="en-US" sz="1200" b="1">
                <a:solidFill>
                  <a:srgbClr val="505150"/>
                </a:solidFill>
              </a:endParaRPr>
            </a:p>
            <a:p>
              <a:pPr marL="180975" indent="-180975">
                <a:spcBef>
                  <a:spcPts val="300"/>
                </a:spcBef>
                <a:buClr>
                  <a:srgbClr val="505150"/>
                </a:buClr>
                <a:buFont typeface="Arial" pitchFamily="34" charset="0"/>
                <a:buChar char="•"/>
              </a:pPr>
              <a:r>
                <a:rPr lang="en-US" sz="1200" b="1">
                  <a:solidFill>
                    <a:srgbClr val="505150"/>
                  </a:solidFill>
                </a:rPr>
                <a:t>Xxx</a:t>
              </a:r>
              <a:br>
                <a:rPr lang="en-US" sz="1200" b="1">
                  <a:solidFill>
                    <a:srgbClr val="505150"/>
                  </a:solidFill>
                </a:rPr>
              </a:br>
              <a:r>
                <a:rPr lang="en-US" sz="1200" err="1">
                  <a:solidFill>
                    <a:srgbClr val="505150">
                      <a:lumMod val="60000"/>
                      <a:lumOff val="40000"/>
                    </a:srgbClr>
                  </a:solidFill>
                </a:rPr>
                <a:t>Xxx</a:t>
              </a:r>
              <a:endParaRPr lang="en-US" sz="1200">
                <a:solidFill>
                  <a:srgbClr val="505150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1277952" y="2892066"/>
              <a:ext cx="1363649" cy="135728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0000"/>
                </a:buClr>
              </a:pPr>
              <a:r>
                <a:rPr lang="en-US" sz="1200" b="1">
                  <a:solidFill>
                    <a:srgbClr val="009AC7"/>
                  </a:solidFill>
                </a:rPr>
                <a:t>Xxx</a:t>
              </a:r>
            </a:p>
          </p:txBody>
        </p:sp>
        <p:sp>
          <p:nvSpPr>
            <p:cNvPr id="14" name="Rectangle 13"/>
            <p:cNvSpPr/>
            <p:nvPr/>
          </p:nvSpPr>
          <p:spPr bwMode="auto">
            <a:xfrm>
              <a:off x="2641601" y="2892066"/>
              <a:ext cx="5836354" cy="135728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80975" indent="-180975">
                <a:spcBef>
                  <a:spcPts val="300"/>
                </a:spcBef>
                <a:buClr>
                  <a:srgbClr val="505150"/>
                </a:buClr>
                <a:buFont typeface="Arial" pitchFamily="34" charset="0"/>
                <a:buChar char="•"/>
              </a:pPr>
              <a:r>
                <a:rPr lang="en-US" sz="1200" b="1">
                  <a:solidFill>
                    <a:srgbClr val="505150"/>
                  </a:solidFill>
                </a:rPr>
                <a:t>Xxx</a:t>
              </a:r>
              <a:br>
                <a:rPr lang="en-US" sz="1200" b="1">
                  <a:solidFill>
                    <a:srgbClr val="505150"/>
                  </a:solidFill>
                </a:rPr>
              </a:br>
              <a:r>
                <a:rPr lang="en-US" sz="1200" err="1">
                  <a:solidFill>
                    <a:srgbClr val="505150">
                      <a:lumMod val="60000"/>
                      <a:lumOff val="40000"/>
                    </a:srgbClr>
                  </a:solidFill>
                </a:rPr>
                <a:t>Xxx</a:t>
              </a:r>
              <a:endParaRPr lang="en-US" sz="1200" b="1">
                <a:solidFill>
                  <a:srgbClr val="505150"/>
                </a:solidFill>
              </a:endParaRPr>
            </a:p>
            <a:p>
              <a:pPr marL="180975" indent="-180975">
                <a:spcBef>
                  <a:spcPts val="300"/>
                </a:spcBef>
                <a:buClr>
                  <a:srgbClr val="505150"/>
                </a:buClr>
                <a:buFont typeface="Arial" pitchFamily="34" charset="0"/>
                <a:buChar char="•"/>
              </a:pPr>
              <a:r>
                <a:rPr lang="en-US" sz="1200" b="1">
                  <a:solidFill>
                    <a:srgbClr val="505150"/>
                  </a:solidFill>
                </a:rPr>
                <a:t>Xxx</a:t>
              </a:r>
              <a:br>
                <a:rPr lang="en-US" sz="1200" b="1">
                  <a:solidFill>
                    <a:srgbClr val="505150"/>
                  </a:solidFill>
                </a:rPr>
              </a:br>
              <a:r>
                <a:rPr lang="en-US" sz="1200" err="1">
                  <a:solidFill>
                    <a:srgbClr val="505150">
                      <a:lumMod val="60000"/>
                      <a:lumOff val="40000"/>
                    </a:srgbClr>
                  </a:solidFill>
                </a:rPr>
                <a:t>Xxx</a:t>
              </a:r>
              <a:endParaRPr lang="en-US" sz="1200">
                <a:solidFill>
                  <a:srgbClr val="505150">
                    <a:lumMod val="60000"/>
                    <a:lumOff val="40000"/>
                  </a:srgbClr>
                </a:solidFill>
              </a:endParaRPr>
            </a:p>
          </p:txBody>
        </p:sp>
        <p:cxnSp>
          <p:nvCxnSpPr>
            <p:cNvPr id="16" name="Straight Connector 15"/>
            <p:cNvCxnSpPr/>
            <p:nvPr/>
          </p:nvCxnSpPr>
          <p:spPr bwMode="auto">
            <a:xfrm>
              <a:off x="579488" y="2793169"/>
              <a:ext cx="7898467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>
                  <a:lumMod val="40000"/>
                  <a:lumOff val="60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>
              <a:off x="579488" y="4348245"/>
              <a:ext cx="7898467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>
                  <a:lumMod val="40000"/>
                  <a:lumOff val="60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" name="Rectangle 18"/>
            <p:cNvSpPr/>
            <p:nvPr/>
          </p:nvSpPr>
          <p:spPr bwMode="auto">
            <a:xfrm>
              <a:off x="1277952" y="4447138"/>
              <a:ext cx="1363649" cy="154331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0000"/>
                </a:buClr>
              </a:pPr>
              <a:r>
                <a:rPr lang="en-US" sz="1200" b="1">
                  <a:solidFill>
                    <a:srgbClr val="009AC7"/>
                  </a:solidFill>
                </a:rPr>
                <a:t>Xxx</a:t>
              </a:r>
            </a:p>
          </p:txBody>
        </p:sp>
        <p:sp>
          <p:nvSpPr>
            <p:cNvPr id="21" name="Rectangle 20"/>
            <p:cNvSpPr/>
            <p:nvPr/>
          </p:nvSpPr>
          <p:spPr bwMode="auto">
            <a:xfrm>
              <a:off x="2641601" y="4447138"/>
              <a:ext cx="5836355" cy="154331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80975" indent="-180975">
                <a:spcBef>
                  <a:spcPts val="300"/>
                </a:spcBef>
                <a:buClr>
                  <a:srgbClr val="505150"/>
                </a:buClr>
                <a:buFont typeface="Arial" pitchFamily="34" charset="0"/>
                <a:buChar char="•"/>
              </a:pPr>
              <a:r>
                <a:rPr lang="en-US" sz="1200" b="1">
                  <a:solidFill>
                    <a:srgbClr val="505150"/>
                  </a:solidFill>
                </a:rPr>
                <a:t>Xxx</a:t>
              </a:r>
              <a:br>
                <a:rPr lang="en-US" sz="1200" b="1">
                  <a:solidFill>
                    <a:srgbClr val="505150"/>
                  </a:solidFill>
                </a:rPr>
              </a:br>
              <a:r>
                <a:rPr lang="en-US" sz="1200" err="1">
                  <a:solidFill>
                    <a:srgbClr val="505150">
                      <a:lumMod val="60000"/>
                      <a:lumOff val="40000"/>
                    </a:srgbClr>
                  </a:solidFill>
                </a:rPr>
                <a:t>Xxx</a:t>
              </a:r>
              <a:endParaRPr lang="en-US" sz="1200" b="1">
                <a:solidFill>
                  <a:srgbClr val="505150"/>
                </a:solidFill>
              </a:endParaRPr>
            </a:p>
            <a:p>
              <a:pPr marL="180975" indent="-180975">
                <a:spcBef>
                  <a:spcPts val="300"/>
                </a:spcBef>
                <a:buClr>
                  <a:srgbClr val="505150"/>
                </a:buClr>
                <a:buFont typeface="Arial" pitchFamily="34" charset="0"/>
                <a:buChar char="•"/>
              </a:pPr>
              <a:r>
                <a:rPr lang="en-US" sz="1200" b="1">
                  <a:solidFill>
                    <a:srgbClr val="505150"/>
                  </a:solidFill>
                </a:rPr>
                <a:t>Xxx</a:t>
              </a:r>
              <a:br>
                <a:rPr lang="en-US" sz="1200" b="1">
                  <a:solidFill>
                    <a:srgbClr val="505150"/>
                  </a:solidFill>
                </a:rPr>
              </a:br>
              <a:r>
                <a:rPr lang="en-US" sz="1200" err="1">
                  <a:solidFill>
                    <a:srgbClr val="505150">
                      <a:lumMod val="60000"/>
                      <a:lumOff val="40000"/>
                    </a:srgbClr>
                  </a:solidFill>
                </a:rPr>
                <a:t>Xxx</a:t>
              </a:r>
              <a:endParaRPr lang="en-US" sz="1200">
                <a:solidFill>
                  <a:srgbClr val="505150">
                    <a:lumMod val="60000"/>
                    <a:lumOff val="4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204492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Benefits &amp; cost matrix</a:t>
            </a:r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/>
          </p:nvPr>
        </p:nvGraphicFramePr>
        <p:xfrm>
          <a:off x="2331675" y="1978752"/>
          <a:ext cx="7888650" cy="36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44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443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00000">
                <a:tc>
                  <a:txBody>
                    <a:bodyPr/>
                    <a:lstStyle/>
                    <a:p>
                      <a:pPr marL="162000" indent="-162000">
                        <a:spcAft>
                          <a:spcPts val="600"/>
                        </a:spcAft>
                        <a:buClr>
                          <a:schemeClr val="bg2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1"/>
                        <a:t>XXX</a:t>
                      </a:r>
                      <a:endParaRPr lang="en-US" sz="12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62000" indent="-162000">
                        <a:spcAft>
                          <a:spcPts val="600"/>
                        </a:spcAft>
                        <a:buClr>
                          <a:schemeClr val="bg2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1"/>
                        <a:t>XXX</a:t>
                      </a:r>
                      <a:endParaRPr lang="en-US" sz="12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0">
                <a:tc>
                  <a:txBody>
                    <a:bodyPr/>
                    <a:lstStyle/>
                    <a:p>
                      <a:pPr marL="162000" indent="-162000">
                        <a:spcAft>
                          <a:spcPts val="600"/>
                        </a:spcAft>
                        <a:buClr>
                          <a:schemeClr val="bg2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1"/>
                        <a:t>XXX</a:t>
                      </a:r>
                      <a:endParaRPr lang="en-US" sz="12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62000" indent="-162000">
                        <a:spcAft>
                          <a:spcPts val="600"/>
                        </a:spcAft>
                        <a:buClr>
                          <a:schemeClr val="bg2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1"/>
                        <a:t>XXX</a:t>
                      </a:r>
                      <a:endParaRPr lang="en-US" sz="12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24" name="Group 23"/>
          <p:cNvGrpSpPr/>
          <p:nvPr/>
        </p:nvGrpSpPr>
        <p:grpSpPr>
          <a:xfrm>
            <a:off x="1984375" y="1978752"/>
            <a:ext cx="360000" cy="3600000"/>
            <a:chOff x="434975" y="2189964"/>
            <a:chExt cx="360362" cy="3663060"/>
          </a:xfrm>
          <a:noFill/>
        </p:grpSpPr>
        <p:sp>
          <p:nvSpPr>
            <p:cNvPr id="25" name="Rectangle 24"/>
            <p:cNvSpPr/>
            <p:nvPr/>
          </p:nvSpPr>
          <p:spPr bwMode="auto">
            <a:xfrm>
              <a:off x="434975" y="2189964"/>
              <a:ext cx="360362" cy="18315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>
                  <a:solidFill>
                    <a:srgbClr val="009AC7"/>
                  </a:solidFill>
                </a:rPr>
                <a:t>Benefits</a:t>
              </a:r>
            </a:p>
          </p:txBody>
        </p:sp>
        <p:sp>
          <p:nvSpPr>
            <p:cNvPr id="26" name="Rectangle 25"/>
            <p:cNvSpPr/>
            <p:nvPr/>
          </p:nvSpPr>
          <p:spPr bwMode="auto">
            <a:xfrm>
              <a:off x="434975" y="4021494"/>
              <a:ext cx="360362" cy="18315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>
                  <a:solidFill>
                    <a:srgbClr val="009AC7"/>
                  </a:solidFill>
                </a:rPr>
                <a:t>Costs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 rot="5400000">
            <a:off x="5978592" y="-2262983"/>
            <a:ext cx="360362" cy="8123107"/>
            <a:chOff x="434975" y="2189964"/>
            <a:chExt cx="360362" cy="3663060"/>
          </a:xfrm>
          <a:noFill/>
        </p:grpSpPr>
        <p:sp>
          <p:nvSpPr>
            <p:cNvPr id="28" name="Rectangle 27"/>
            <p:cNvSpPr/>
            <p:nvPr/>
          </p:nvSpPr>
          <p:spPr bwMode="auto">
            <a:xfrm>
              <a:off x="434975" y="2189964"/>
              <a:ext cx="360362" cy="18315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>
                  <a:solidFill>
                    <a:srgbClr val="009AC7"/>
                  </a:solidFill>
                </a:rPr>
                <a:t>Not directly quantifiable</a:t>
              </a: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434975" y="4021494"/>
              <a:ext cx="360362" cy="183153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>
                  <a:solidFill>
                    <a:srgbClr val="009AC7"/>
                  </a:solidFill>
                </a:rPr>
                <a:t>Directly quantifiab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7625776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/>
              <a:t>Report-out: Business decisi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8897920" y="204919"/>
            <a:ext cx="1378839" cy="576000"/>
            <a:chOff x="7373919" y="255745"/>
            <a:chExt cx="1378839" cy="576000"/>
          </a:xfrm>
        </p:grpSpPr>
        <p:grpSp>
          <p:nvGrpSpPr>
            <p:cNvPr id="6" name="Group 5"/>
            <p:cNvGrpSpPr/>
            <p:nvPr/>
          </p:nvGrpSpPr>
          <p:grpSpPr>
            <a:xfrm>
              <a:off x="7384607" y="312912"/>
              <a:ext cx="1368151" cy="461665"/>
              <a:chOff x="1098030" y="5226607"/>
              <a:chExt cx="1368151" cy="461665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 rotWithShape="1">
              <a:blip r:embed="rId2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4300"/>
              <a:stretch/>
            </p:blipFill>
            <p:spPr>
              <a:xfrm>
                <a:off x="1098030" y="5245026"/>
                <a:ext cx="504087" cy="432000"/>
              </a:xfrm>
              <a:prstGeom prst="rect">
                <a:avLst/>
              </a:prstGeom>
            </p:spPr>
          </p:pic>
          <p:sp>
            <p:nvSpPr>
              <p:cNvPr id="9" name="TextBox 8"/>
              <p:cNvSpPr txBox="1"/>
              <p:nvPr/>
            </p:nvSpPr>
            <p:spPr bwMode="auto">
              <a:xfrm>
                <a:off x="1707554" y="5226607"/>
                <a:ext cx="758627" cy="4616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2400" b="1">
                    <a:solidFill>
                      <a:srgbClr val="941E3B"/>
                    </a:solidFill>
                    <a:latin typeface="Calibri" pitchFamily="34" charset="0"/>
                    <a:cs typeface="Calibri" pitchFamily="34" charset="0"/>
                  </a:rPr>
                  <a:t>5’</a:t>
                </a:r>
              </a:p>
            </p:txBody>
          </p:sp>
        </p:grpSp>
        <p:sp>
          <p:nvSpPr>
            <p:cNvPr id="7" name="Rounded Rectangle 6"/>
            <p:cNvSpPr/>
            <p:nvPr/>
          </p:nvSpPr>
          <p:spPr>
            <a:xfrm>
              <a:off x="7373919" y="255745"/>
              <a:ext cx="1368000" cy="576000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4125" y="2303362"/>
            <a:ext cx="4023753" cy="402375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368550" y="1308100"/>
            <a:ext cx="7454900" cy="102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bg2"/>
                </a:solidFill>
              </a:rPr>
              <a:t>One speaker from one of the 4 groups</a:t>
            </a:r>
            <a:br>
              <a:rPr lang="en-US" sz="2400">
                <a:solidFill>
                  <a:schemeClr val="bg2"/>
                </a:solidFill>
              </a:rPr>
            </a:br>
            <a:r>
              <a:rPr lang="en-US" sz="2400">
                <a:solidFill>
                  <a:schemeClr val="bg2"/>
                </a:solidFill>
              </a:rPr>
              <a:t>Other groups to complete</a:t>
            </a:r>
            <a:endParaRPr lang="en-US" sz="2400" baseline="300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08190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86187" y="1685924"/>
            <a:ext cx="7815262" cy="46258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250000"/>
              </a:lnSpc>
              <a:buAutoNum type="arabicPeriod"/>
            </a:pPr>
            <a:r>
              <a:rPr lang="fr-FR" err="1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view</a:t>
            </a:r>
            <a:r>
              <a:rPr lang="fr-FR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of </a:t>
            </a:r>
            <a:r>
              <a:rPr lang="fr-FR" err="1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gress</a:t>
            </a:r>
            <a:r>
              <a:rPr lang="fr-FR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mad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XPath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ing with </a:t>
            </a:r>
            <a:r>
              <a:rPr lang="en-US" err="1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y</a:t>
            </a:r>
            <a:endParaRPr lang="en-US">
              <a:solidFill>
                <a:schemeClr val="tx1">
                  <a:lumMod val="50000"/>
                  <a:lumOff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PI’s at a glanc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Business Cas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 b="1">
                <a:solidFill>
                  <a:srgbClr val="22759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mmary of the session</a:t>
            </a:r>
          </a:p>
          <a:p>
            <a:pPr marL="342900" indent="-342900">
              <a:lnSpc>
                <a:spcPct val="20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 next week...</a:t>
            </a:r>
            <a:endParaRPr lang="fr-FR">
              <a:solidFill>
                <a:schemeClr val="tx1">
                  <a:lumMod val="50000"/>
                  <a:lumOff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736220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 we learnt…</a:t>
            </a:r>
          </a:p>
        </p:txBody>
      </p:sp>
      <p:sp>
        <p:nvSpPr>
          <p:cNvPr id="10" name="Oval 9"/>
          <p:cNvSpPr/>
          <p:nvPr/>
        </p:nvSpPr>
        <p:spPr>
          <a:xfrm>
            <a:off x="7674262" y="1497471"/>
            <a:ext cx="1080000" cy="1080000"/>
          </a:xfrm>
          <a:prstGeom prst="ellipse">
            <a:avLst/>
          </a:prstGeom>
          <a:noFill/>
          <a:ln w="57150">
            <a:solidFill>
              <a:schemeClr val="accent3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096001" y="2601205"/>
            <a:ext cx="4236525" cy="51388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decis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096001" y="2987847"/>
            <a:ext cx="4236525" cy="29537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144000" rtlCol="0" anchor="t"/>
          <a:lstStyle/>
          <a:p>
            <a:pPr marL="179705" indent="-179705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5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Know what </a:t>
            </a: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is a business case </a:t>
            </a:r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9705" indent="-179705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… and </a:t>
            </a:r>
            <a:r>
              <a:rPr lang="en-US" sz="15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how is it linked </a:t>
            </a: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to business decisions</a:t>
            </a:r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9705" indent="-179705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Understand the reasons why</a:t>
            </a:r>
            <a:r>
              <a:rPr lang="en-US" sz="15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 you need business decisions</a:t>
            </a:r>
          </a:p>
          <a:p>
            <a:pPr marL="179705" indent="-179705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5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Know the main deliverables</a:t>
            </a:r>
          </a:p>
          <a:p>
            <a:pPr marL="179705" indent="-179705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US" sz="150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3437737" y="1497471"/>
            <a:ext cx="1080000" cy="1080000"/>
          </a:xfrm>
          <a:prstGeom prst="ellipse">
            <a:avLst/>
          </a:prstGeom>
          <a:noFill/>
          <a:ln w="57150">
            <a:solidFill>
              <a:schemeClr val="accent3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249" name="Picture 9" descr="RÃ©sultat de recherche d'images pour &quot;business icon&quot;">
            <a:extLst>
              <a:ext uri="{FF2B5EF4-FFF2-40B4-BE49-F238E27FC236}">
                <a16:creationId xmlns:a16="http://schemas.microsoft.com/office/drawing/2014/main" id="{FBAF99DF-2CE4-4E93-9A27-30F9E39B0C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1869" y="1680917"/>
            <a:ext cx="724785" cy="724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1F1B775-FA2B-4307-8D01-3C2CBC6825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8949" y="1680917"/>
            <a:ext cx="513888" cy="51388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E99612D-0529-48D0-9F6F-2E3D946644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6044" y="1936408"/>
            <a:ext cx="516793" cy="516793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40B23BF-C8C9-4E48-AEDA-FFA0FA79543E}"/>
              </a:ext>
            </a:extLst>
          </p:cNvPr>
          <p:cNvSpPr/>
          <p:nvPr/>
        </p:nvSpPr>
        <p:spPr>
          <a:xfrm>
            <a:off x="1870736" y="2615285"/>
            <a:ext cx="4236525" cy="51388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Scrap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9561F45-28A9-47E4-9D52-AC7AA952C9C6}"/>
              </a:ext>
            </a:extLst>
          </p:cNvPr>
          <p:cNvSpPr/>
          <p:nvPr/>
        </p:nvSpPr>
        <p:spPr>
          <a:xfrm>
            <a:off x="1846177" y="2987847"/>
            <a:ext cx="4236525" cy="29537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144000" rtlCol="0" anchor="t"/>
          <a:lstStyle/>
          <a:p>
            <a:pPr marL="180000" indent="-18000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Know how to write </a:t>
            </a:r>
            <a:r>
              <a:rPr lang="en-US" sz="15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XPath requests…</a:t>
            </a:r>
          </a:p>
          <a:p>
            <a:pPr marL="180000" indent="-18000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…and how to explore the HTML tree with several tools (</a:t>
            </a:r>
            <a:r>
              <a:rPr lang="en-US" sz="150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SelectorGadget</a:t>
            </a: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, </a:t>
            </a:r>
            <a:r>
              <a:rPr lang="en-US" sz="150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Xpath</a:t>
            </a: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 helper…)</a:t>
            </a:r>
          </a:p>
          <a:p>
            <a:pPr marL="180000" indent="-18000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5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Use </a:t>
            </a:r>
            <a:r>
              <a:rPr lang="en-US" sz="15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Scrapy</a:t>
            </a:r>
            <a:r>
              <a:rPr lang="en-US" sz="15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 </a:t>
            </a: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with Python to scrape a website by writing a spider capable of both crawling and parsing</a:t>
            </a:r>
          </a:p>
          <a:p>
            <a:pPr marL="180000" indent="-18000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Know about the existence of </a:t>
            </a:r>
            <a:r>
              <a:rPr lang="en-US" sz="15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APIs</a:t>
            </a: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 and </a:t>
            </a:r>
            <a:r>
              <a:rPr lang="en-US" sz="15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how to use them</a:t>
            </a:r>
            <a:r>
              <a:rPr lang="en-US" sz="15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rPr>
              <a:t> (with the help of their documentation)</a:t>
            </a:r>
          </a:p>
          <a:p>
            <a:pPr marL="180000" indent="-18000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US" sz="150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562858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86187" y="1685924"/>
            <a:ext cx="7815262" cy="46258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250000"/>
              </a:lnSpc>
              <a:buAutoNum type="arabicPeriod"/>
            </a:pPr>
            <a:r>
              <a:rPr lang="fr-FR" err="1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view</a:t>
            </a:r>
            <a:r>
              <a:rPr lang="fr-FR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of </a:t>
            </a:r>
            <a:r>
              <a:rPr lang="fr-FR" err="1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gress</a:t>
            </a:r>
            <a:r>
              <a:rPr lang="fr-FR">
                <a:solidFill>
                  <a:schemeClr val="accent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mad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XPath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ing with </a:t>
            </a:r>
            <a:r>
              <a:rPr lang="en-US" err="1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rapy</a:t>
            </a:r>
            <a:endParaRPr lang="en-US">
              <a:solidFill>
                <a:schemeClr val="tx1">
                  <a:lumMod val="50000"/>
                  <a:lumOff val="50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PI’s at a glanc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roduction to Business Case</a:t>
            </a:r>
          </a:p>
          <a:p>
            <a:pPr marL="342900" indent="-342900">
              <a:lnSpc>
                <a:spcPct val="250000"/>
              </a:lnSpc>
              <a:buFontTx/>
              <a:buAutoNum type="arabicPeriod"/>
            </a:pPr>
            <a:r>
              <a:rPr lang="en-US">
                <a:solidFill>
                  <a:schemeClr val="bg1">
                    <a:lumMod val="50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mmary of the session</a:t>
            </a:r>
          </a:p>
          <a:p>
            <a:pPr marL="342900" indent="-342900">
              <a:lnSpc>
                <a:spcPct val="200000"/>
              </a:lnSpc>
              <a:buFontTx/>
              <a:buAutoNum type="arabicPeriod"/>
            </a:pPr>
            <a:r>
              <a:rPr lang="en-US" b="1">
                <a:solidFill>
                  <a:srgbClr val="22759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 next week...</a:t>
            </a:r>
            <a:endParaRPr lang="fr-FR" b="1">
              <a:solidFill>
                <a:srgbClr val="22759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885771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Work for next week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3733873" y="1588316"/>
            <a:ext cx="4724255" cy="4824536"/>
            <a:chOff x="2590873" y="1426626"/>
            <a:chExt cx="4724255" cy="4824536"/>
          </a:xfrm>
        </p:grpSpPr>
        <p:sp>
          <p:nvSpPr>
            <p:cNvPr id="22" name="Rounded Rectangle 21"/>
            <p:cNvSpPr/>
            <p:nvPr/>
          </p:nvSpPr>
          <p:spPr>
            <a:xfrm>
              <a:off x="2590873" y="1556792"/>
              <a:ext cx="4724255" cy="4694370"/>
            </a:xfrm>
            <a:prstGeom prst="roundRect">
              <a:avLst>
                <a:gd name="adj" fmla="val 6711"/>
              </a:avLst>
            </a:pr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600" b="1">
                <a:solidFill>
                  <a:schemeClr val="accent2"/>
                </a:solidFill>
                <a:latin typeface="+mj-lt"/>
                <a:cs typeface="Calibri" pitchFamily="34" charset="0"/>
              </a:endParaRPr>
            </a:p>
            <a:p>
              <a:pPr algn="ctr"/>
              <a:endParaRPr lang="en-US" sz="1600" b="1">
                <a:solidFill>
                  <a:schemeClr val="accent2"/>
                </a:solidFill>
                <a:latin typeface="+mj-lt"/>
                <a:cs typeface="Calibri" pitchFamily="34" charset="0"/>
              </a:endParaRPr>
            </a:p>
            <a:p>
              <a:pPr algn="ctr"/>
              <a:endParaRPr lang="en-US" sz="1600" b="1">
                <a:solidFill>
                  <a:schemeClr val="accent2"/>
                </a:solidFill>
                <a:latin typeface="+mj-lt"/>
                <a:cs typeface="Calibri" pitchFamily="34" charset="0"/>
              </a:endParaRPr>
            </a:p>
            <a:p>
              <a:pPr algn="ctr"/>
              <a:endParaRPr lang="en-US" sz="1600" b="1">
                <a:solidFill>
                  <a:schemeClr val="accent2"/>
                </a:solidFill>
                <a:latin typeface="+mj-lt"/>
                <a:cs typeface="Calibri" pitchFamily="34" charset="0"/>
              </a:endParaRPr>
            </a:p>
            <a:p>
              <a:pPr algn="ctr"/>
              <a:r>
                <a:rPr lang="en-US" sz="1600" b="1">
                  <a:solidFill>
                    <a:schemeClr val="tx2"/>
                  </a:solidFill>
                  <a:latin typeface="+mj-lt"/>
                  <a:cs typeface="Calibri" pitchFamily="34" charset="0"/>
                </a:rPr>
                <a:t>Instructions</a:t>
              </a:r>
            </a:p>
            <a:p>
              <a:pPr algn="ctr"/>
              <a:endPara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endParaRPr>
            </a:p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Calibri" pitchFamily="34" charset="0"/>
                </a:rPr>
                <a:t>Gather as much as possible data using </a:t>
              </a:r>
              <a:r>
                <a:rPr lang="en-US" sz="16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Calibri" pitchFamily="34" charset="0"/>
                </a:rPr>
                <a:t>Scrapy</a:t>
              </a:r>
              <a:r>
                <a: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Calibri" pitchFamily="34" charset="0"/>
                </a:rPr>
                <a:t> on websites with comments on Center Parcs</a:t>
              </a:r>
            </a:p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Calibri" pitchFamily="34" charset="0"/>
              </a:endParaRPr>
            </a:p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Calibri" pitchFamily="34" charset="0"/>
                </a:rPr>
                <a:t>Put all data in a single </a:t>
              </a:r>
              <a:r>
                <a:rPr lang="en-US" sz="160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Calibri" pitchFamily="34" charset="0"/>
                </a:rPr>
                <a:t>dataframe</a:t>
              </a:r>
              <a:r>
                <a: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Calibri" pitchFamily="34" charset="0"/>
                </a:rPr>
                <a:t> </a:t>
              </a: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6163" y="1426626"/>
              <a:ext cx="1473675" cy="14736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83204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91635E3-F78F-4A55-A715-6B1D7AF40466}"/>
              </a:ext>
            </a:extLst>
          </p:cNvPr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What is XPath ?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Introduction to XPath</a:t>
            </a:r>
            <a:endParaRPr lang="en-US" sz="28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720613-0933-4FE7-99A7-D2478C9E96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9" y="2506235"/>
            <a:ext cx="1678421" cy="167842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3CD5A5B-4330-4AF1-99A8-67C0BF24594B}"/>
              </a:ext>
            </a:extLst>
          </p:cNvPr>
          <p:cNvSpPr txBox="1"/>
          <p:nvPr/>
        </p:nvSpPr>
        <p:spPr>
          <a:xfrm>
            <a:off x="2368550" y="2967335"/>
            <a:ext cx="620554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fr-FR" err="1">
                <a:latin typeface="Arial" panose="020B0604020202020204" pitchFamily="34" charset="0"/>
                <a:cs typeface="Arial" panose="020B0604020202020204" pitchFamily="34" charset="0"/>
              </a:rPr>
              <a:t>programing</a:t>
            </a:r>
            <a:r>
              <a:rPr lang="fr-FR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err="1">
                <a:latin typeface="Arial" panose="020B0604020202020204" pitchFamily="34" charset="0"/>
                <a:cs typeface="Arial" panose="020B0604020202020204" pitchFamily="34" charset="0"/>
              </a:rPr>
              <a:t>language</a:t>
            </a:r>
            <a:r>
              <a:rPr lang="fr-FR">
                <a:latin typeface="Arial" panose="020B0604020202020204" pitchFamily="34" charset="0"/>
                <a:cs typeface="Arial" panose="020B0604020202020204" pitchFamily="34" charset="0"/>
              </a:rPr>
              <a:t>, for </a:t>
            </a:r>
            <a:r>
              <a:rPr lang="fr-FR" err="1">
                <a:latin typeface="Arial" panose="020B0604020202020204" pitchFamily="34" charset="0"/>
                <a:cs typeface="Arial" panose="020B0604020202020204" pitchFamily="34" charset="0"/>
              </a:rPr>
              <a:t>requests</a:t>
            </a:r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fr-FR" err="1">
                <a:latin typeface="Arial" panose="020B0604020202020204" pitchFamily="34" charset="0"/>
                <a:cs typeface="Arial" panose="020B0604020202020204" pitchFamily="34" charset="0"/>
              </a:rPr>
              <a:t>easy</a:t>
            </a:r>
            <a:r>
              <a:rPr lang="fr-FR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err="1">
                <a:latin typeface="Arial" panose="020B0604020202020204" pitchFamily="34" charset="0"/>
                <a:cs typeface="Arial" panose="020B0604020202020204" pitchFamily="34" charset="0"/>
              </a:rPr>
              <a:t>language</a:t>
            </a:r>
            <a:r>
              <a:rPr lang="fr-FR">
                <a:latin typeface="Arial" panose="020B0604020202020204" pitchFamily="34" charset="0"/>
                <a:cs typeface="Arial" panose="020B0604020202020204" pitchFamily="34" charset="0"/>
              </a:rPr>
              <a:t> to select </a:t>
            </a:r>
            <a:r>
              <a:rPr lang="fr-FR" err="1">
                <a:latin typeface="Arial" panose="020B0604020202020204" pitchFamily="34" charset="0"/>
                <a:cs typeface="Arial" panose="020B0604020202020204" pitchFamily="34" charset="0"/>
              </a:rPr>
              <a:t>nodes</a:t>
            </a:r>
            <a:r>
              <a:rPr lang="fr-FR">
                <a:latin typeface="Arial" panose="020B0604020202020204" pitchFamily="34" charset="0"/>
                <a:cs typeface="Arial" panose="020B0604020202020204" pitchFamily="34" charset="0"/>
              </a:rPr>
              <a:t> in a document (XML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>
                <a:latin typeface="Arial" panose="020B0604020202020204" pitchFamily="34" charset="0"/>
                <a:cs typeface="Arial" panose="020B0604020202020204" pitchFamily="34" charset="0"/>
              </a:rPr>
              <a:t>XPath relies on the </a:t>
            </a:r>
            <a:r>
              <a:rPr lang="fr-FR" b="1" err="1">
                <a:latin typeface="Arial" panose="020B0604020202020204" pitchFamily="34" charset="0"/>
                <a:cs typeface="Arial" panose="020B0604020202020204" pitchFamily="34" charset="0"/>
              </a:rPr>
              <a:t>tree</a:t>
            </a:r>
            <a:r>
              <a:rPr lang="fr-FR" b="1">
                <a:latin typeface="Arial" panose="020B0604020202020204" pitchFamily="34" charset="0"/>
                <a:cs typeface="Arial" panose="020B0604020202020204" pitchFamily="34" charset="0"/>
              </a:rPr>
              <a:t> structure </a:t>
            </a:r>
            <a:r>
              <a:rPr lang="fr-FR">
                <a:latin typeface="Arial" panose="020B0604020202020204" pitchFamily="34" charset="0"/>
                <a:cs typeface="Arial" panose="020B0604020202020204" pitchFamily="34" charset="0"/>
              </a:rPr>
              <a:t>of HTML pag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1C2582-9144-4F0F-82AF-DF3166965C2E}"/>
              </a:ext>
            </a:extLst>
          </p:cNvPr>
          <p:cNvSpPr txBox="1"/>
          <p:nvPr/>
        </p:nvSpPr>
        <p:spPr>
          <a:xfrm>
            <a:off x="407989" y="4439832"/>
            <a:ext cx="632577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u="sng" err="1"/>
              <a:t>Reminder</a:t>
            </a:r>
            <a:r>
              <a:rPr lang="fr-FR"/>
              <a:t>: HTML </a:t>
            </a:r>
            <a:r>
              <a:rPr lang="fr-FR" err="1"/>
              <a:t>is</a:t>
            </a:r>
            <a:r>
              <a:rPr lang="fr-FR"/>
              <a:t> a markup </a:t>
            </a:r>
            <a:r>
              <a:rPr lang="fr-FR" err="1"/>
              <a:t>language</a:t>
            </a:r>
            <a:r>
              <a:rPr lang="fr-FR"/>
              <a:t> </a:t>
            </a:r>
            <a:r>
              <a:rPr lang="fr-FR" err="1"/>
              <a:t>with</a:t>
            </a:r>
            <a:r>
              <a:rPr lang="fr-FR"/>
              <a:t> a </a:t>
            </a:r>
            <a:r>
              <a:rPr lang="fr-FR" err="1"/>
              <a:t>tree</a:t>
            </a:r>
            <a:r>
              <a:rPr lang="fr-FR"/>
              <a:t> structure. </a:t>
            </a:r>
            <a:br>
              <a:rPr lang="fr-FR"/>
            </a:br>
            <a:br>
              <a:rPr lang="fr-FR"/>
            </a:br>
            <a:r>
              <a:rPr lang="fr-FR"/>
              <a:t>XPath </a:t>
            </a:r>
            <a:r>
              <a:rPr lang="fr-FR" err="1"/>
              <a:t>allows</a:t>
            </a:r>
            <a:r>
              <a:rPr lang="fr-FR"/>
              <a:t> </a:t>
            </a:r>
            <a:r>
              <a:rPr lang="fr-FR" err="1"/>
              <a:t>you</a:t>
            </a:r>
            <a:r>
              <a:rPr lang="fr-FR"/>
              <a:t> to select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Content of a marku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Content of </a:t>
            </a:r>
            <a:r>
              <a:rPr lang="fr-FR" err="1"/>
              <a:t>its</a:t>
            </a:r>
            <a:r>
              <a:rPr lang="fr-FR"/>
              <a:t> </a:t>
            </a:r>
            <a:r>
              <a:rPr lang="fr-FR" err="1"/>
              <a:t>atributes</a:t>
            </a:r>
            <a:r>
              <a:rPr lang="fr-FR"/>
              <a:t> (</a:t>
            </a:r>
            <a:r>
              <a:rPr lang="fr-FR" err="1"/>
              <a:t>hypertext</a:t>
            </a:r>
            <a:r>
              <a:rPr lang="fr-FR"/>
              <a:t> links for </a:t>
            </a:r>
            <a:r>
              <a:rPr lang="fr-FR" err="1"/>
              <a:t>example</a:t>
            </a:r>
            <a:r>
              <a:rPr lang="fr-FR"/>
              <a:t>) </a:t>
            </a:r>
          </a:p>
        </p:txBody>
      </p:sp>
      <p:pic>
        <p:nvPicPr>
          <p:cNvPr id="5122" name="Picture 2" descr="https://i.imgur.com/dDPgFfW.gif">
            <a:extLst>
              <a:ext uri="{FF2B5EF4-FFF2-40B4-BE49-F238E27FC236}">
                <a16:creationId xmlns:a16="http://schemas.microsoft.com/office/drawing/2014/main" id="{585D28A3-7C68-4F40-8F07-0BAB912AB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7037" y="4184656"/>
            <a:ext cx="3552825" cy="2009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950134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chemeClr val="accent3">
                    <a:lumMod val="75000"/>
                  </a:schemeClr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8952135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91635E3-F78F-4A55-A715-6B1D7AF40466}"/>
              </a:ext>
            </a:extLst>
          </p:cNvPr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What is XPath ?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Introduction to XPath</a:t>
            </a:r>
            <a:endParaRPr lang="en-US" sz="28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114AB1-7FFA-40F0-80BC-23362EF6C2DB}"/>
              </a:ext>
            </a:extLst>
          </p:cNvPr>
          <p:cNvSpPr txBox="1"/>
          <p:nvPr/>
        </p:nvSpPr>
        <p:spPr>
          <a:xfrm>
            <a:off x="407989" y="2506235"/>
            <a:ext cx="5675971" cy="1237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err="1"/>
              <a:t>Xpath</a:t>
            </a:r>
            <a:r>
              <a:rPr lang="fr-FR"/>
              <a:t> </a:t>
            </a:r>
            <a:r>
              <a:rPr lang="fr-FR" err="1"/>
              <a:t>describes</a:t>
            </a:r>
            <a:r>
              <a:rPr lang="fr-FR"/>
              <a:t> the </a:t>
            </a:r>
            <a:r>
              <a:rPr lang="fr-FR" err="1"/>
              <a:t>path</a:t>
            </a:r>
            <a:r>
              <a:rPr lang="fr-FR"/>
              <a:t> to a </a:t>
            </a:r>
            <a:r>
              <a:rPr lang="fr-FR" err="1"/>
              <a:t>specific</a:t>
            </a:r>
            <a:r>
              <a:rPr lang="fr-FR"/>
              <a:t> </a:t>
            </a:r>
            <a:r>
              <a:rPr lang="fr-FR" err="1"/>
              <a:t>node</a:t>
            </a:r>
            <a:r>
              <a:rPr lang="fr-FR"/>
              <a:t>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err="1"/>
              <a:t>From</a:t>
            </a:r>
            <a:r>
              <a:rPr lang="fr-FR"/>
              <a:t> the root of the document and </a:t>
            </a:r>
            <a:r>
              <a:rPr lang="fr-FR" err="1"/>
              <a:t>goes</a:t>
            </a:r>
            <a:r>
              <a:rPr lang="fr-FR"/>
              <a:t> dow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You can have </a:t>
            </a:r>
            <a:r>
              <a:rPr lang="fr-FR" err="1"/>
              <a:t>several</a:t>
            </a:r>
            <a:r>
              <a:rPr lang="fr-FR"/>
              <a:t> </a:t>
            </a:r>
            <a:r>
              <a:rPr lang="fr-FR" err="1"/>
              <a:t>paths</a:t>
            </a:r>
            <a:r>
              <a:rPr lang="fr-FR"/>
              <a:t> to the </a:t>
            </a:r>
            <a:r>
              <a:rPr lang="fr-FR" err="1"/>
              <a:t>same</a:t>
            </a:r>
            <a:r>
              <a:rPr lang="fr-FR"/>
              <a:t> </a:t>
            </a:r>
            <a:r>
              <a:rPr lang="fr-FR" err="1"/>
              <a:t>node</a:t>
            </a:r>
            <a:endParaRPr lang="fr-FR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A </a:t>
            </a:r>
            <a:r>
              <a:rPr lang="fr-FR" err="1"/>
              <a:t>path</a:t>
            </a:r>
            <a:r>
              <a:rPr lang="fr-FR"/>
              <a:t> can select </a:t>
            </a:r>
            <a:r>
              <a:rPr lang="fr-FR" err="1"/>
              <a:t>several</a:t>
            </a:r>
            <a:r>
              <a:rPr lang="fr-FR"/>
              <a:t> valu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CB50A9-1492-4325-BC52-9466D0CE5610}"/>
              </a:ext>
            </a:extLst>
          </p:cNvPr>
          <p:cNvSpPr txBox="1"/>
          <p:nvPr/>
        </p:nvSpPr>
        <p:spPr>
          <a:xfrm>
            <a:off x="2368550" y="3849589"/>
            <a:ext cx="2717411" cy="31700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err="1"/>
              <a:t>Tree</a:t>
            </a:r>
            <a:endParaRPr lang="fr-FR"/>
          </a:p>
          <a:p>
            <a:endParaRPr lang="fr-FR"/>
          </a:p>
          <a:p>
            <a:r>
              <a:rPr lang="fr-FR" sz="1600" b="1"/>
              <a:t>&lt;AAA&gt;</a:t>
            </a:r>
          </a:p>
          <a:p>
            <a:r>
              <a:rPr lang="fr-FR" sz="1600" b="1"/>
              <a:t>	&lt;BBB/&gt;</a:t>
            </a:r>
          </a:p>
          <a:p>
            <a:r>
              <a:rPr lang="fr-FR" sz="1600" b="1"/>
              <a:t>	&lt;CCC/&gt;</a:t>
            </a:r>
            <a:br>
              <a:rPr lang="fr-FR" sz="1600" b="1"/>
            </a:br>
            <a:r>
              <a:rPr lang="fr-FR" sz="1600" b="1"/>
              <a:t>	&lt;BBB/&gt;</a:t>
            </a:r>
            <a:br>
              <a:rPr lang="fr-FR" sz="1600" b="1"/>
            </a:br>
            <a:r>
              <a:rPr lang="fr-FR" sz="1600" b="1"/>
              <a:t>	&lt;DDD&gt;</a:t>
            </a:r>
            <a:br>
              <a:rPr lang="fr-FR" sz="1600" b="1"/>
            </a:br>
            <a:r>
              <a:rPr lang="fr-FR" sz="1600" b="1"/>
              <a:t>		&lt;BBB&gt;</a:t>
            </a:r>
          </a:p>
          <a:p>
            <a:r>
              <a:rPr lang="fr-FR" sz="1600" b="1"/>
              <a:t>	&lt;/DDD&gt;</a:t>
            </a:r>
          </a:p>
          <a:p>
            <a:r>
              <a:rPr lang="fr-FR" sz="1600" b="1"/>
              <a:t>	&lt;CCC/&gt;</a:t>
            </a:r>
          </a:p>
          <a:p>
            <a:endParaRPr lang="fr-FR"/>
          </a:p>
          <a:p>
            <a:endParaRPr lang="fr-FR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075133-5EEB-4B2C-AA3F-DFA0E639B55F}"/>
              </a:ext>
            </a:extLst>
          </p:cNvPr>
          <p:cNvSpPr txBox="1"/>
          <p:nvPr/>
        </p:nvSpPr>
        <p:spPr>
          <a:xfrm>
            <a:off x="6601523" y="3849589"/>
            <a:ext cx="4211217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/>
              <a:t>Path</a:t>
            </a:r>
          </a:p>
          <a:p>
            <a:br>
              <a:rPr lang="fr-FR"/>
            </a:br>
            <a:endParaRPr lang="fr-FR"/>
          </a:p>
          <a:p>
            <a:r>
              <a:rPr lang="fr-FR"/>
              <a:t>/AAA selects values </a:t>
            </a:r>
            <a:r>
              <a:rPr lang="fr-FR" err="1"/>
              <a:t>after</a:t>
            </a:r>
            <a:r>
              <a:rPr lang="fr-FR"/>
              <a:t> AAA</a:t>
            </a:r>
            <a:br>
              <a:rPr lang="fr-FR"/>
            </a:br>
            <a:br>
              <a:rPr lang="fr-FR"/>
            </a:br>
            <a:r>
              <a:rPr lang="fr-FR"/>
              <a:t>/AAA/CCC selects values </a:t>
            </a:r>
            <a:r>
              <a:rPr lang="fr-FR" err="1"/>
              <a:t>after</a:t>
            </a:r>
            <a:r>
              <a:rPr lang="fr-FR"/>
              <a:t> CCC</a:t>
            </a:r>
            <a:br>
              <a:rPr lang="fr-FR"/>
            </a:br>
            <a:br>
              <a:rPr lang="fr-FR"/>
            </a:br>
            <a:r>
              <a:rPr lang="fr-FR"/>
              <a:t>/AAA/DDD/BBB selects values </a:t>
            </a:r>
            <a:r>
              <a:rPr lang="fr-FR" err="1"/>
              <a:t>after</a:t>
            </a:r>
            <a:r>
              <a:rPr lang="fr-FR"/>
              <a:t> BBB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04B0538-146B-4627-AB87-327636E9F2A3}"/>
              </a:ext>
            </a:extLst>
          </p:cNvPr>
          <p:cNvCxnSpPr/>
          <p:nvPr/>
        </p:nvCxnSpPr>
        <p:spPr>
          <a:xfrm flipH="1" flipV="1">
            <a:off x="3456878" y="4549698"/>
            <a:ext cx="2988527" cy="345687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22DF097-9D3E-4379-9000-E080647BD6DD}"/>
              </a:ext>
            </a:extLst>
          </p:cNvPr>
          <p:cNvCxnSpPr/>
          <p:nvPr/>
        </p:nvCxnSpPr>
        <p:spPr>
          <a:xfrm flipH="1" flipV="1">
            <a:off x="4215161" y="5107259"/>
            <a:ext cx="2386362" cy="327379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7B650AA-8FCF-4420-AF39-0848E3004CFC}"/>
              </a:ext>
            </a:extLst>
          </p:cNvPr>
          <p:cNvCxnSpPr/>
          <p:nvPr/>
        </p:nvCxnSpPr>
        <p:spPr>
          <a:xfrm flipH="1">
            <a:off x="4270917" y="5434638"/>
            <a:ext cx="2330606" cy="864696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7C33538-D7A4-4698-B844-AC54063E2A5A}"/>
              </a:ext>
            </a:extLst>
          </p:cNvPr>
          <p:cNvCxnSpPr/>
          <p:nvPr/>
        </p:nvCxnSpPr>
        <p:spPr>
          <a:xfrm flipH="1" flipV="1">
            <a:off x="5085961" y="5794815"/>
            <a:ext cx="1515562" cy="182239"/>
          </a:xfrm>
          <a:prstGeom prst="straightConnector1">
            <a:avLst/>
          </a:prstGeom>
          <a:ln w="1270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54804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Introduction to XPath</a:t>
            </a:r>
            <a:endParaRPr lang="en-US" sz="280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6113BCD-812B-4F1E-8195-7EBB2A0D37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1965120"/>
              </p:ext>
            </p:extLst>
          </p:nvPr>
        </p:nvGraphicFramePr>
        <p:xfrm>
          <a:off x="2032000" y="1801335"/>
          <a:ext cx="8128000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4122998741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383806247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fr-FR">
                          <a:solidFill>
                            <a:srgbClr val="22759E"/>
                          </a:solidFill>
                        </a:rPr>
                        <a:t>4 basics </a:t>
                      </a:r>
                      <a:r>
                        <a:rPr lang="fr-FR" err="1">
                          <a:solidFill>
                            <a:srgbClr val="22759E"/>
                          </a:solidFill>
                        </a:rPr>
                        <a:t>operators</a:t>
                      </a:r>
                      <a:br>
                        <a:rPr lang="fr-FR">
                          <a:solidFill>
                            <a:srgbClr val="22759E"/>
                          </a:solidFill>
                        </a:rPr>
                      </a:br>
                      <a:endParaRPr lang="fr-FR">
                        <a:solidFill>
                          <a:srgbClr val="22759E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44327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/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Chil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96324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//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Descenda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57918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@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err="1"/>
                        <a:t>Atribute</a:t>
                      </a:r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1974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[ 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Cond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5995610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39DF820-171A-40F5-B505-98DA175733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0003964"/>
              </p:ext>
            </p:extLst>
          </p:nvPr>
        </p:nvGraphicFramePr>
        <p:xfrm>
          <a:off x="2043261" y="4431835"/>
          <a:ext cx="8128000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32867868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818020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>
                          <a:solidFill>
                            <a:srgbClr val="22759E"/>
                          </a:solidFill>
                        </a:rPr>
                        <a:t>XPa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>
                          <a:solidFill>
                            <a:srgbClr val="22759E"/>
                          </a:solidFill>
                        </a:rPr>
                        <a:t>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56547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/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err="1"/>
                        <a:t>Every</a:t>
                      </a:r>
                      <a:r>
                        <a:rPr lang="fr-FR"/>
                        <a:t> </a:t>
                      </a:r>
                      <a:r>
                        <a:rPr lang="fr-FR" err="1"/>
                        <a:t>hypertext</a:t>
                      </a:r>
                      <a:r>
                        <a:rPr lang="fr-FR"/>
                        <a:t> lin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117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//div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err="1"/>
                        <a:t>Every</a:t>
                      </a:r>
                      <a:r>
                        <a:rPr lang="fr-FR"/>
                        <a:t> </a:t>
                      </a:r>
                      <a:r>
                        <a:rPr lang="fr-FR" err="1"/>
                        <a:t>hypertext</a:t>
                      </a:r>
                      <a:r>
                        <a:rPr lang="fr-FR"/>
                        <a:t> links in a div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17008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//a[</a:t>
                      </a:r>
                      <a:r>
                        <a:rPr lang="fr-FR" err="1"/>
                        <a:t>contains</a:t>
                      </a:r>
                      <a:r>
                        <a:rPr lang="fr-FR"/>
                        <a:t>(</a:t>
                      </a:r>
                      <a:r>
                        <a:rPr lang="fr-FR" err="1"/>
                        <a:t>text</a:t>
                      </a:r>
                      <a:r>
                        <a:rPr lang="fr-FR"/>
                        <a:t>(), ‘Dr.’)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err="1"/>
                        <a:t>Every</a:t>
                      </a:r>
                      <a:r>
                        <a:rPr lang="fr-FR"/>
                        <a:t> </a:t>
                      </a:r>
                      <a:r>
                        <a:rPr lang="fr-FR" err="1"/>
                        <a:t>hypertext</a:t>
                      </a:r>
                      <a:r>
                        <a:rPr lang="fr-FR"/>
                        <a:t> links </a:t>
                      </a:r>
                      <a:r>
                        <a:rPr lang="fr-FR" err="1"/>
                        <a:t>where</a:t>
                      </a:r>
                      <a:r>
                        <a:rPr lang="fr-FR"/>
                        <a:t> the </a:t>
                      </a:r>
                      <a:r>
                        <a:rPr lang="fr-FR" err="1"/>
                        <a:t>text</a:t>
                      </a:r>
                      <a:r>
                        <a:rPr lang="fr-FR"/>
                        <a:t> </a:t>
                      </a:r>
                      <a:r>
                        <a:rPr lang="fr-FR" err="1"/>
                        <a:t>contains</a:t>
                      </a:r>
                      <a:r>
                        <a:rPr lang="fr-FR"/>
                        <a:t> « Dr. »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36335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8444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F063E0-AED8-4EB3-8D3B-3BE626953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Introduction to XPath</a:t>
            </a:r>
            <a:endParaRPr lang="en-US" sz="2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51D7D0-A63B-4B35-B3B5-9805FF04A2B4}"/>
              </a:ext>
            </a:extLst>
          </p:cNvPr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How to selec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4F9385-46E6-415A-9488-D1DE29600082}"/>
              </a:ext>
            </a:extLst>
          </p:cNvPr>
          <p:cNvSpPr txBox="1"/>
          <p:nvPr/>
        </p:nvSpPr>
        <p:spPr>
          <a:xfrm>
            <a:off x="407988" y="2637264"/>
            <a:ext cx="1139854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err="1"/>
              <a:t>Atributes</a:t>
            </a:r>
            <a:r>
              <a:rPr lang="fr-FR"/>
              <a:t>: @</a:t>
            </a:r>
          </a:p>
          <a:p>
            <a:r>
              <a:rPr lang="fr-FR"/>
              <a:t>If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ant</a:t>
            </a:r>
            <a:r>
              <a:rPr lang="fr-FR"/>
              <a:t> to </a:t>
            </a:r>
            <a:r>
              <a:rPr lang="fr-FR" err="1"/>
              <a:t>extract</a:t>
            </a:r>
            <a:r>
              <a:rPr lang="fr-FR"/>
              <a:t> a </a:t>
            </a:r>
            <a:r>
              <a:rPr lang="fr-FR" err="1"/>
              <a:t>specific</a:t>
            </a:r>
            <a:r>
              <a:rPr lang="fr-FR"/>
              <a:t> </a:t>
            </a:r>
            <a:r>
              <a:rPr lang="fr-FR" err="1"/>
              <a:t>atribute</a:t>
            </a:r>
            <a:r>
              <a:rPr lang="fr-FR"/>
              <a:t>, for </a:t>
            </a:r>
            <a:r>
              <a:rPr lang="fr-FR" err="1"/>
              <a:t>example</a:t>
            </a:r>
            <a:r>
              <a:rPr lang="fr-FR"/>
              <a:t> </a:t>
            </a:r>
            <a:r>
              <a:rPr lang="fr-FR" i="1">
                <a:solidFill>
                  <a:srgbClr val="22759E"/>
                </a:solidFill>
              </a:rPr>
              <a:t>href </a:t>
            </a:r>
            <a:r>
              <a:rPr lang="fr-FR" err="1"/>
              <a:t>which</a:t>
            </a:r>
            <a:r>
              <a:rPr lang="fr-FR"/>
              <a:t> </a:t>
            </a:r>
            <a:r>
              <a:rPr lang="fr-FR" err="1"/>
              <a:t>gives</a:t>
            </a:r>
            <a:r>
              <a:rPr lang="fr-FR"/>
              <a:t> the URL to </a:t>
            </a:r>
            <a:r>
              <a:rPr lang="fr-FR" err="1"/>
              <a:t>which</a:t>
            </a:r>
            <a:r>
              <a:rPr lang="fr-FR"/>
              <a:t> </a:t>
            </a:r>
            <a:r>
              <a:rPr lang="fr-FR" err="1"/>
              <a:t>is</a:t>
            </a:r>
            <a:endParaRPr lang="fr-FR"/>
          </a:p>
          <a:p>
            <a:r>
              <a:rPr lang="fr-FR"/>
              <a:t> </a:t>
            </a:r>
            <a:r>
              <a:rPr lang="fr-FR" err="1"/>
              <a:t>pointing</a:t>
            </a:r>
            <a:r>
              <a:rPr lang="fr-FR"/>
              <a:t> a </a:t>
            </a:r>
            <a:r>
              <a:rPr lang="fr-FR" err="1"/>
              <a:t>link</a:t>
            </a:r>
            <a:r>
              <a:rPr lang="fr-FR"/>
              <a:t>,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b="1"/>
              <a:t>/@href </a:t>
            </a:r>
            <a:r>
              <a:rPr lang="fr-FR"/>
              <a:t>at the end of </a:t>
            </a:r>
            <a:r>
              <a:rPr lang="fr-FR" err="1"/>
              <a:t>your</a:t>
            </a:r>
            <a:r>
              <a:rPr lang="fr-FR"/>
              <a:t> </a:t>
            </a:r>
            <a:r>
              <a:rPr lang="fr-FR" err="1"/>
              <a:t>path</a:t>
            </a:r>
            <a:r>
              <a:rPr lang="fr-FR"/>
              <a:t> </a:t>
            </a:r>
          </a:p>
          <a:p>
            <a:endParaRPr lang="fr-FR"/>
          </a:p>
          <a:p>
            <a:endParaRPr lang="fr-FR"/>
          </a:p>
          <a:p>
            <a:endParaRPr lang="fr-FR"/>
          </a:p>
          <a:p>
            <a:r>
              <a:rPr lang="fr-FR" u="sng"/>
              <a:t>Example</a:t>
            </a:r>
          </a:p>
          <a:p>
            <a:endParaRPr lang="fr-FR"/>
          </a:p>
          <a:p>
            <a:r>
              <a:rPr lang="fr-FR" b="1">
                <a:solidFill>
                  <a:srgbClr val="22759E"/>
                </a:solidFill>
              </a:rPr>
              <a:t>//a </a:t>
            </a:r>
            <a:r>
              <a:rPr lang="fr-FR" err="1"/>
              <a:t>extracts</a:t>
            </a:r>
            <a:r>
              <a:rPr lang="fr-FR"/>
              <a:t> all the </a:t>
            </a:r>
            <a:r>
              <a:rPr lang="fr-FR" err="1"/>
              <a:t>nodes</a:t>
            </a:r>
            <a:r>
              <a:rPr lang="fr-FR"/>
              <a:t> of links (markups, </a:t>
            </a:r>
            <a:r>
              <a:rPr lang="fr-FR" err="1"/>
              <a:t>atributes</a:t>
            </a:r>
            <a:r>
              <a:rPr lang="fr-FR"/>
              <a:t>, content) </a:t>
            </a:r>
          </a:p>
          <a:p>
            <a:r>
              <a:rPr lang="fr-FR" b="1">
                <a:solidFill>
                  <a:srgbClr val="22759E"/>
                </a:solidFill>
              </a:rPr>
              <a:t>//a/@href </a:t>
            </a:r>
            <a:r>
              <a:rPr lang="fr-FR" err="1"/>
              <a:t>extracts</a:t>
            </a:r>
            <a:r>
              <a:rPr lang="fr-FR"/>
              <a:t> </a:t>
            </a:r>
            <a:r>
              <a:rPr lang="fr-FR" err="1"/>
              <a:t>only</a:t>
            </a:r>
            <a:r>
              <a:rPr lang="fr-FR"/>
              <a:t> URL of all links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3440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eme FDT V1_13032017">
  <a:themeElements>
    <a:clrScheme name="Custom 2">
      <a:dk1>
        <a:sysClr val="windowText" lastClr="000000"/>
      </a:dk1>
      <a:lt1>
        <a:srgbClr val="FFFFFF"/>
      </a:lt1>
      <a:dk2>
        <a:srgbClr val="22759E"/>
      </a:dk2>
      <a:lt2>
        <a:srgbClr val="939393"/>
      </a:lt2>
      <a:accent1>
        <a:srgbClr val="EEEEEE"/>
      </a:accent1>
      <a:accent2>
        <a:srgbClr val="E39774"/>
      </a:accent2>
      <a:accent3>
        <a:srgbClr val="3DBFA1"/>
      </a:accent3>
      <a:accent4>
        <a:srgbClr val="326273"/>
      </a:accent4>
      <a:accent5>
        <a:srgbClr val="04BFC8"/>
      </a:accent5>
      <a:accent6>
        <a:srgbClr val="04D4DE"/>
      </a:accent6>
      <a:hlink>
        <a:srgbClr val="0563C1"/>
      </a:hlink>
      <a:folHlink>
        <a:srgbClr val="954F72"/>
      </a:folHlink>
    </a:clrScheme>
    <a:fontScheme name="Custom 1">
      <a:majorFont>
        <a:latin typeface="Montserrat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 FDT V1_13032017" id="{F9C680C4-3532-4C6A-8AB9-5D0CB2B048A2}" vid="{E242A4C6-AA06-41A4-A12C-0C9E28E492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441A3F76A8A348A9423B3F45277654" ma:contentTypeVersion="6" ma:contentTypeDescription="Create a new document." ma:contentTypeScope="" ma:versionID="f9c125965daf133c2089263f7908ab10">
  <xsd:schema xmlns:xsd="http://www.w3.org/2001/XMLSchema" xmlns:xs="http://www.w3.org/2001/XMLSchema" xmlns:p="http://schemas.microsoft.com/office/2006/metadata/properties" xmlns:ns2="69bf1f1d-093b-4aa0-9c3b-d4668e0adc05" targetNamespace="http://schemas.microsoft.com/office/2006/metadata/properties" ma:root="true" ma:fieldsID="2436c6d60703f91680b3f6b5ef02c65e" ns2:_="">
    <xsd:import namespace="69bf1f1d-093b-4aa0-9c3b-d4668e0adc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bf1f1d-093b-4aa0-9c3b-d4668e0adc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A6563F7-2387-48F9-A5F6-7D4D41EB667B}">
  <ds:schemaRefs>
    <ds:schemaRef ds:uri="69bf1f1d-093b-4aa0-9c3b-d4668e0adc0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BFD60C1-AB0D-4289-B05F-EC857D6A6D6F}">
  <ds:schemaRefs>
    <ds:schemaRef ds:uri="69bf1f1d-093b-4aa0-9c3b-d4668e0adc0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E905CC0-AF73-45E9-99ED-4A68ED81653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60</Slides>
  <Notes>6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61" baseType="lpstr">
      <vt:lpstr>1_Theme FDT V1_13032017</vt:lpstr>
      <vt:lpstr>PowerPoint Presentation</vt:lpstr>
      <vt:lpstr>Agenda</vt:lpstr>
      <vt:lpstr>Presentation of the achievements so far</vt:lpstr>
      <vt:lpstr>Reminder: Objectives &amp; methodology for our case study</vt:lpstr>
      <vt:lpstr>Agenda</vt:lpstr>
      <vt:lpstr>Introduction to XPath</vt:lpstr>
      <vt:lpstr>Introduction to XPath</vt:lpstr>
      <vt:lpstr>Introduction to XPath</vt:lpstr>
      <vt:lpstr>Introduction to XPath</vt:lpstr>
      <vt:lpstr>Introduction to XPath</vt:lpstr>
      <vt:lpstr>Introduction to XPath</vt:lpstr>
      <vt:lpstr>Agenda</vt:lpstr>
      <vt:lpstr>Scraping with Scrapy</vt:lpstr>
      <vt:lpstr>Scraping with Scrapy: Spiders</vt:lpstr>
      <vt:lpstr>Hands-on 1: Scrapy</vt:lpstr>
      <vt:lpstr>Hands-on 1: Scrapy</vt:lpstr>
      <vt:lpstr>Scraping with Scrapy: Spiders</vt:lpstr>
      <vt:lpstr>Scraping with Scrapy: Shell and Selectors</vt:lpstr>
      <vt:lpstr>Scraping with Scrapy: Shell and Selectors</vt:lpstr>
      <vt:lpstr>Scraping with Scrapy: Storing data</vt:lpstr>
      <vt:lpstr>Hands-on 2: Scrapy</vt:lpstr>
      <vt:lpstr>Hands-on 1: Scrapy</vt:lpstr>
      <vt:lpstr>Scraping with Scrapy: Crawling</vt:lpstr>
      <vt:lpstr>Scraping with Scrapy: Crawling</vt:lpstr>
      <vt:lpstr>Hands-on 3: Crawling with Scrapy</vt:lpstr>
      <vt:lpstr>Hands-on 3: Scrapy</vt:lpstr>
      <vt:lpstr>Scraping web pages</vt:lpstr>
      <vt:lpstr>Agenda</vt:lpstr>
      <vt:lpstr>APIs at a glance</vt:lpstr>
      <vt:lpstr>Using APIs: Language of the query</vt:lpstr>
      <vt:lpstr>Finding &amp; using APIs</vt:lpstr>
      <vt:lpstr>Top 8 social network APIs &amp; policies</vt:lpstr>
      <vt:lpstr>Top 8 social network APIs &amp; policies</vt:lpstr>
      <vt:lpstr>Using APIs: Twitter API</vt:lpstr>
      <vt:lpstr>Using APIs: Twitter API</vt:lpstr>
      <vt:lpstr>Using APIs: Twitter API</vt:lpstr>
      <vt:lpstr>Using APIs: Twitter API</vt:lpstr>
      <vt:lpstr>Agenda</vt:lpstr>
      <vt:lpstr>What is a data use case?</vt:lpstr>
      <vt:lpstr>Examples of business decisions</vt:lpstr>
      <vt:lpstr>Examples of applications</vt:lpstr>
      <vt:lpstr>Methodology</vt:lpstr>
      <vt:lpstr>Case study</vt:lpstr>
      <vt:lpstr>Brainstorming in groups: Business decision</vt:lpstr>
      <vt:lpstr>Report-out: Business decision</vt:lpstr>
      <vt:lpstr>What is a business case</vt:lpstr>
      <vt:lpstr>Why do we need a business case?</vt:lpstr>
      <vt:lpstr>3 key deliverables</vt:lpstr>
      <vt:lpstr>Deliverable #1: Identified value stream and associated KPIs</vt:lpstr>
      <vt:lpstr>Deliverable #2: Benefits and costs matrix</vt:lpstr>
      <vt:lpstr>Deliverable #3: Benefits and costs quantification</vt:lpstr>
      <vt:lpstr>Hands-on: Value &amp; KPIs and benefits &amp; costs matrix</vt:lpstr>
      <vt:lpstr>Identified value and KPIs</vt:lpstr>
      <vt:lpstr>Example: Benefits &amp; cost matrix</vt:lpstr>
      <vt:lpstr>Report-out: Business decision</vt:lpstr>
      <vt:lpstr>Agenda</vt:lpstr>
      <vt:lpstr>Today we learnt…</vt:lpstr>
      <vt:lpstr>Agenda</vt:lpstr>
      <vt:lpstr>Work for next week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eils Template</dc:title>
  <dc:creator>SLEIMAN Jean-Pierre</dc:creator>
  <cp:revision>1</cp:revision>
  <cp:lastPrinted>2017-08-28T06:55:21Z</cp:lastPrinted>
  <dcterms:created xsi:type="dcterms:W3CDTF">2017-03-13T11:31:11Z</dcterms:created>
  <dcterms:modified xsi:type="dcterms:W3CDTF">2019-01-15T09:5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441A3F76A8A348A9423B3F45277654</vt:lpwstr>
  </property>
  <property fmtid="{D5CDD505-2E9C-101B-9397-08002B2CF9AE}" pid="3" name="AuthorIds_UIVersion_2560">
    <vt:lpwstr>16</vt:lpwstr>
  </property>
</Properties>
</file>